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5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1"/>
    <p:sldMasterId id="2147483670" r:id="rId2"/>
    <p:sldMasterId id="2147483688" r:id="rId3"/>
    <p:sldMasterId id="2147483705" r:id="rId4"/>
    <p:sldMasterId id="2147483818" r:id="rId5"/>
  </p:sldMasterIdLst>
  <p:notesMasterIdLst>
    <p:notesMasterId r:id="rId38"/>
  </p:notesMasterIdLst>
  <p:sldIdLst>
    <p:sldId id="420" r:id="rId6"/>
    <p:sldId id="322" r:id="rId7"/>
    <p:sldId id="291" r:id="rId8"/>
    <p:sldId id="396" r:id="rId9"/>
    <p:sldId id="428" r:id="rId10"/>
    <p:sldId id="330" r:id="rId11"/>
    <p:sldId id="398" r:id="rId12"/>
    <p:sldId id="337" r:id="rId13"/>
    <p:sldId id="340" r:id="rId14"/>
    <p:sldId id="333" r:id="rId15"/>
    <p:sldId id="404" r:id="rId16"/>
    <p:sldId id="325" r:id="rId17"/>
    <p:sldId id="378" r:id="rId18"/>
    <p:sldId id="421" r:id="rId19"/>
    <p:sldId id="403" r:id="rId20"/>
    <p:sldId id="405" r:id="rId21"/>
    <p:sldId id="422" r:id="rId22"/>
    <p:sldId id="409" r:id="rId23"/>
    <p:sldId id="410" r:id="rId24"/>
    <p:sldId id="402" r:id="rId25"/>
    <p:sldId id="380" r:id="rId26"/>
    <p:sldId id="381" r:id="rId27"/>
    <p:sldId id="425" r:id="rId28"/>
    <p:sldId id="423" r:id="rId29"/>
    <p:sldId id="413" r:id="rId30"/>
    <p:sldId id="382" r:id="rId31"/>
    <p:sldId id="416" r:id="rId32"/>
    <p:sldId id="426" r:id="rId33"/>
    <p:sldId id="418" r:id="rId34"/>
    <p:sldId id="414" r:id="rId35"/>
    <p:sldId id="412" r:id="rId36"/>
    <p:sldId id="429" r:id="rId37"/>
  </p:sldIdLst>
  <p:sldSz cx="9145588" cy="6859588"/>
  <p:notesSz cx="6794500" cy="9906000"/>
  <p:custDataLst>
    <p:tags r:id="rId39"/>
  </p:custDataLst>
  <p:defaultTextStyle>
    <a:defPPr>
      <a:defRPr lang="nb-NO"/>
    </a:defPPr>
    <a:lvl1pPr marL="0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52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97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150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198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250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296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348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399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9E9"/>
    <a:srgbClr val="0090A8"/>
    <a:srgbClr val="BADEE4"/>
    <a:srgbClr val="B9DABB"/>
    <a:srgbClr val="74C4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56" autoAdjust="0"/>
    <p:restoredTop sz="89343" autoAdjust="0"/>
  </p:normalViewPr>
  <p:slideViewPr>
    <p:cSldViewPr snapToObjects="1">
      <p:cViewPr>
        <p:scale>
          <a:sx n="55" d="100"/>
          <a:sy n="55" d="100"/>
        </p:scale>
        <p:origin x="-1788" y="-312"/>
      </p:cViewPr>
      <p:guideLst>
        <p:guide orient="horz" pos="2161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46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91504C-4575-47C1-BB77-F1659E0C11FB}" type="datetimeFigureOut">
              <a:rPr lang="nb-NO" smtClean="0"/>
              <a:pPr/>
              <a:t>07.12.2015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54AF40-869B-4CF5-B287-6DC45E68710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65992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42811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321407" algn="l" defTabSz="642811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642811" algn="l" defTabSz="642811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964218" algn="l" defTabSz="642811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1285628" algn="l" defTabSz="642811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607034" algn="l" defTabSz="642811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928439" algn="l" defTabSz="642811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249846" algn="l" defTabSz="642811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571253" algn="l" defTabSz="642811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54AF40-869B-4CF5-B287-6DC45E68710E}" type="slidenum">
              <a:rPr lang="nb-NO" smtClean="0"/>
              <a:pPr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424251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" name="Shape 415"/>
          <p:cNvSpPr txBox="1">
            <a:spLocks noGrp="1"/>
          </p:cNvSpPr>
          <p:nvPr>
            <p:ph type="body" idx="1"/>
          </p:nvPr>
        </p:nvSpPr>
        <p:spPr>
          <a:xfrm>
            <a:off x="679451" y="4705350"/>
            <a:ext cx="5435599" cy="44577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228600" lvl="0" indent="0" rtl="0">
              <a:spcBef>
                <a:spcPts val="0"/>
              </a:spcBef>
              <a:buClr>
                <a:schemeClr val="dk1"/>
              </a:buClr>
              <a:buNone/>
            </a:pPr>
            <a:endParaRPr lang="x-none">
              <a:solidFill>
                <a:schemeClr val="dk1"/>
              </a:solidFill>
            </a:endParaRPr>
          </a:p>
        </p:txBody>
      </p:sp>
      <p:sp>
        <p:nvSpPr>
          <p:cNvPr id="416" name="Shape 416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" name="Shape 415"/>
          <p:cNvSpPr txBox="1">
            <a:spLocks noGrp="1"/>
          </p:cNvSpPr>
          <p:nvPr>
            <p:ph type="body" idx="1"/>
          </p:nvPr>
        </p:nvSpPr>
        <p:spPr>
          <a:xfrm>
            <a:off x="679451" y="4705350"/>
            <a:ext cx="5435599" cy="44577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228600" lvl="0" indent="0" rtl="0">
              <a:spcBef>
                <a:spcPts val="0"/>
              </a:spcBef>
              <a:buClr>
                <a:schemeClr val="dk1"/>
              </a:buClr>
              <a:buNone/>
            </a:pPr>
            <a:endParaRPr lang="nb-NO" baseline="0" dirty="0" smtClean="0">
              <a:solidFill>
                <a:schemeClr val="dk1"/>
              </a:solidFill>
            </a:endParaRPr>
          </a:p>
        </p:txBody>
      </p:sp>
      <p:sp>
        <p:nvSpPr>
          <p:cNvPr id="416" name="Shape 416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  <p:extLst>
      <p:ext uri="{BB962C8B-B14F-4D97-AF65-F5344CB8AC3E}">
        <p14:creationId xmlns:p14="http://schemas.microsoft.com/office/powerpoint/2010/main" val="2393495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" name="Shape 415"/>
          <p:cNvSpPr txBox="1">
            <a:spLocks noGrp="1"/>
          </p:cNvSpPr>
          <p:nvPr>
            <p:ph type="body" idx="1"/>
          </p:nvPr>
        </p:nvSpPr>
        <p:spPr>
          <a:xfrm>
            <a:off x="679451" y="4705350"/>
            <a:ext cx="5435599" cy="44577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228600" lvl="0" indent="0" rtl="0">
              <a:spcBef>
                <a:spcPts val="0"/>
              </a:spcBef>
              <a:buClr>
                <a:schemeClr val="dk1"/>
              </a:buClr>
              <a:buNone/>
            </a:pPr>
            <a:endParaRPr lang="nb-NO" baseline="0" dirty="0" smtClean="0">
              <a:solidFill>
                <a:schemeClr val="dk1"/>
              </a:solidFill>
              <a:effectLst/>
            </a:endParaRPr>
          </a:p>
          <a:p>
            <a:pPr marL="228600" lvl="0" indent="0" rtl="0">
              <a:spcBef>
                <a:spcPts val="0"/>
              </a:spcBef>
              <a:buClr>
                <a:schemeClr val="dk1"/>
              </a:buClr>
              <a:buNone/>
            </a:pPr>
            <a:endParaRPr lang="x-none" dirty="0">
              <a:solidFill>
                <a:schemeClr val="dk1"/>
              </a:solidFill>
            </a:endParaRPr>
          </a:p>
        </p:txBody>
      </p:sp>
      <p:sp>
        <p:nvSpPr>
          <p:cNvPr id="416" name="Shape 416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  <p:extLst>
      <p:ext uri="{BB962C8B-B14F-4D97-AF65-F5344CB8AC3E}">
        <p14:creationId xmlns:p14="http://schemas.microsoft.com/office/powerpoint/2010/main" val="1493989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72CC47-64FC-4903-B2E9-7B84406F07EA}" type="slidenum">
              <a:rPr lang="de-CH" smtClean="0"/>
              <a:pPr/>
              <a:t>3</a:t>
            </a:fld>
            <a:endParaRPr lang="de-CH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72CC47-64FC-4903-B2E9-7B84406F07EA}" type="slidenum">
              <a:rPr lang="de-CH" smtClean="0">
                <a:solidFill>
                  <a:prstClr val="black"/>
                </a:solidFill>
              </a:rPr>
              <a:pPr/>
              <a:t>4</a:t>
            </a:fld>
            <a:endParaRPr lang="de-CH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54AF40-869B-4CF5-B287-6DC45E68710E}" type="slidenum">
              <a:rPr lang="nb-NO" smtClean="0"/>
              <a:pPr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424251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54AF40-869B-4CF5-B287-6DC45E68710E}" type="slidenum">
              <a:rPr lang="nb-NO" smtClean="0">
                <a:solidFill>
                  <a:prstClr val="black"/>
                </a:solidFill>
              </a:rPr>
              <a:pPr/>
              <a:t>7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4251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54AF40-869B-4CF5-B287-6DC45E68710E}" type="slidenum">
              <a:rPr lang="nb-NO" smtClean="0">
                <a:solidFill>
                  <a:prstClr val="black"/>
                </a:solidFill>
              </a:rPr>
              <a:pPr/>
              <a:t>9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4251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54AF40-869B-4CF5-B287-6DC45E68710E}" type="slidenum">
              <a:rPr lang="nb-NO" smtClean="0">
                <a:solidFill>
                  <a:prstClr val="black"/>
                </a:solidFill>
              </a:rPr>
              <a:pPr/>
              <a:t>10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4251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54AF40-869B-4CF5-B287-6DC45E68710E}" type="slidenum">
              <a:rPr lang="nb-NO" smtClean="0">
                <a:solidFill>
                  <a:prstClr val="black"/>
                </a:solidFill>
              </a:rPr>
              <a:pPr/>
              <a:t>12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4251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Shape 263"/>
          <p:cNvSpPr txBox="1">
            <a:spLocks noGrp="1"/>
          </p:cNvSpPr>
          <p:nvPr>
            <p:ph type="body" idx="1"/>
          </p:nvPr>
        </p:nvSpPr>
        <p:spPr>
          <a:xfrm>
            <a:off x="679451" y="4705350"/>
            <a:ext cx="5435599" cy="44577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171450" lvl="0" indent="-171450" rtl="0">
              <a:spcBef>
                <a:spcPts val="0"/>
              </a:spcBef>
              <a:buFont typeface="Arial" panose="020B0604020202020204" pitchFamily="34" charset="0"/>
              <a:buChar char="•"/>
            </a:pPr>
            <a:endParaRPr dirty="0">
              <a:solidFill>
                <a:schemeClr val="dk1"/>
              </a:solidFill>
            </a:endParaRPr>
          </a:p>
        </p:txBody>
      </p:sp>
      <p:sp>
        <p:nvSpPr>
          <p:cNvPr id="264" name="Shape 264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8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9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0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3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8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9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10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3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5.jpe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8.jpe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9.jpe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10.jpe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4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3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4.png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5.jpe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4.png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8.jpe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4.png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9.jpe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4.png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image" Target="../media/image10.jpe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image" Target="../media/image3.jpe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image" Target="../media/image5.jpe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image" Target="../media/image8.jpe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image" Target="../media/image9.jpe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image" Target="../media/image10.jpe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side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6060581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/>
          </a:p>
        </p:txBody>
      </p:sp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6" y="3656994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148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ADEE4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27" y="5778435"/>
            <a:ext cx="7447286" cy="216456"/>
          </a:xfrm>
        </p:spPr>
        <p:txBody>
          <a:bodyPr/>
          <a:lstStyle>
            <a:lvl1pPr>
              <a:defRPr sz="1400">
                <a:solidFill>
                  <a:srgbClr val="74C4D7"/>
                </a:solidFill>
              </a:defRPr>
            </a:lvl1pPr>
          </a:lstStyle>
          <a:p>
            <a:fld id="{C4C3BEF0-BA3B-419E-AECF-7B2C94D9F49B}" type="datetime1">
              <a:rPr lang="nb-NO" smtClean="0"/>
              <a:pPr/>
              <a:t>07.12.2015</a:t>
            </a:fld>
            <a:endParaRPr lang="nb-NO" dirty="0"/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304098" cy="2371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/>
          </a:p>
        </p:txBody>
      </p:sp>
      <p:sp>
        <p:nvSpPr>
          <p:cNvPr id="8" name="Rektangel 7"/>
          <p:cNvSpPr/>
          <p:nvPr userDrawn="1"/>
        </p:nvSpPr>
        <p:spPr>
          <a:xfrm>
            <a:off x="455764" y="430466"/>
            <a:ext cx="8254340" cy="59860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/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6" y="3092893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0090A8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288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1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198559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1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139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4958180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5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5337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3307410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9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4068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edragsholder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932647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86206" y="3074788"/>
            <a:ext cx="7373201" cy="569387"/>
          </a:xfrm>
        </p:spPr>
        <p:txBody>
          <a:bodyPr/>
          <a:lstStyle>
            <a:lvl1pPr>
              <a:defRPr>
                <a:solidFill>
                  <a:srgbClr val="BADEE4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2" hasCustomPrompt="1"/>
          </p:nvPr>
        </p:nvSpPr>
        <p:spPr>
          <a:xfrm>
            <a:off x="2269452" y="3719033"/>
            <a:ext cx="5989955" cy="324683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</a:defRPr>
            </a:lvl1pPr>
            <a:lvl2pPr marL="457051" indent="0">
              <a:buNone/>
              <a:defRPr>
                <a:solidFill>
                  <a:srgbClr val="BADEE4"/>
                </a:solidFill>
              </a:defRPr>
            </a:lvl2pPr>
            <a:lvl3pPr marL="914098" indent="0">
              <a:buNone/>
              <a:defRPr>
                <a:solidFill>
                  <a:srgbClr val="BADEE4"/>
                </a:solidFill>
              </a:defRPr>
            </a:lvl3pPr>
            <a:lvl4pPr marL="1371149" indent="0">
              <a:buNone/>
              <a:defRPr>
                <a:solidFill>
                  <a:srgbClr val="BADEE4"/>
                </a:solidFill>
              </a:defRPr>
            </a:lvl4pPr>
            <a:lvl5pPr marL="1828198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smtClean="0"/>
              <a:t>Telefon</a:t>
            </a:r>
          </a:p>
        </p:txBody>
      </p:sp>
      <p:sp>
        <p:nvSpPr>
          <p:cNvPr id="12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2272708" y="4046344"/>
            <a:ext cx="5986696" cy="3246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</a:defRPr>
            </a:lvl1pPr>
            <a:lvl2pPr marL="457051" indent="0">
              <a:buNone/>
              <a:defRPr>
                <a:solidFill>
                  <a:srgbClr val="BADEE4"/>
                </a:solidFill>
              </a:defRPr>
            </a:lvl2pPr>
            <a:lvl3pPr marL="914098" indent="0">
              <a:buNone/>
              <a:defRPr>
                <a:solidFill>
                  <a:srgbClr val="BADEE4"/>
                </a:solidFill>
              </a:defRPr>
            </a:lvl3pPr>
            <a:lvl4pPr marL="1371149" indent="0">
              <a:buNone/>
              <a:defRPr>
                <a:solidFill>
                  <a:srgbClr val="BADEE4"/>
                </a:solidFill>
              </a:defRPr>
            </a:lvl4pPr>
            <a:lvl5pPr marL="1828198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smtClean="0"/>
              <a:t>E-post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2269452" y="4373400"/>
            <a:ext cx="5989955" cy="324683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</a:defRPr>
            </a:lvl1pPr>
            <a:lvl2pPr marL="457051" indent="0">
              <a:buNone/>
              <a:defRPr>
                <a:solidFill>
                  <a:srgbClr val="BADEE4"/>
                </a:solidFill>
              </a:defRPr>
            </a:lvl2pPr>
            <a:lvl3pPr marL="914098" indent="0">
              <a:buNone/>
              <a:defRPr>
                <a:solidFill>
                  <a:srgbClr val="BADEE4"/>
                </a:solidFill>
              </a:defRPr>
            </a:lvl3pPr>
            <a:lvl4pPr marL="1371149" indent="0">
              <a:buNone/>
              <a:defRPr>
                <a:solidFill>
                  <a:srgbClr val="BADEE4"/>
                </a:solidFill>
              </a:defRPr>
            </a:lvl4pPr>
            <a:lvl5pPr marL="1828198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err="1" smtClean="0"/>
              <a:t>Twitter</a:t>
            </a:r>
            <a:endParaRPr lang="nb-NO" dirty="0" smtClean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2389435" cy="2444294"/>
          </a:xfrm>
          <a:prstGeom prst="rect">
            <a:avLst/>
          </a:prstGeom>
        </p:spPr>
      </p:pic>
      <p:sp>
        <p:nvSpPr>
          <p:cNvPr id="10" name="Plassholder f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886206" y="3719034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</a:defRPr>
            </a:lvl1pPr>
          </a:lstStyle>
          <a:p>
            <a:r>
              <a:rPr lang="nb-NO" dirty="0" smtClean="0">
                <a:solidFill>
                  <a:srgbClr val="BADEE4"/>
                </a:solidFill>
              </a:rPr>
              <a:t>T.</a:t>
            </a:r>
            <a:endParaRPr lang="nb-NO" dirty="0"/>
          </a:p>
        </p:txBody>
      </p:sp>
      <p:sp>
        <p:nvSpPr>
          <p:cNvPr id="20" name="Plassholder f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886206" y="4061065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</a:defRPr>
            </a:lvl1pPr>
          </a:lstStyle>
          <a:p>
            <a:r>
              <a:rPr lang="nb-NO" dirty="0" smtClean="0">
                <a:solidFill>
                  <a:srgbClr val="BADEE4"/>
                </a:solidFill>
              </a:rPr>
              <a:t>E.</a:t>
            </a:r>
            <a:endParaRPr lang="nb-NO" dirty="0"/>
          </a:p>
        </p:txBody>
      </p:sp>
      <p:sp>
        <p:nvSpPr>
          <p:cNvPr id="21" name="Plassholder f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886206" y="4394542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</a:defRPr>
            </a:lvl1pPr>
          </a:lstStyle>
          <a:p>
            <a:r>
              <a:rPr lang="nb-NO" dirty="0" err="1" smtClean="0">
                <a:solidFill>
                  <a:srgbClr val="BADEE4"/>
                </a:solidFill>
              </a:rPr>
              <a:t>Twitter</a:t>
            </a:r>
            <a:r>
              <a:rPr lang="nb-NO" dirty="0" smtClean="0">
                <a:solidFill>
                  <a:srgbClr val="BADEE4"/>
                </a:solidFill>
              </a:rPr>
              <a:t>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1215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tnings/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265696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504910" cy="3712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2527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41821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side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6817229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6" y="3656994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148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ADEE4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27" y="5778435"/>
            <a:ext cx="7447286" cy="216456"/>
          </a:xfrm>
        </p:spPr>
        <p:txBody>
          <a:bodyPr/>
          <a:lstStyle>
            <a:lvl1pPr>
              <a:defRPr sz="1400">
                <a:solidFill>
                  <a:srgbClr val="74C4D7"/>
                </a:solidFill>
              </a:defRPr>
            </a:lvl1pPr>
          </a:lstStyle>
          <a:p>
            <a:fld id="{C4C3BEF0-BA3B-419E-AECF-7B2C94D9F49B}" type="datetime1">
              <a:rPr lang="nb-NO" smtClean="0"/>
              <a:pPr/>
              <a:t>07.12.2015</a:t>
            </a:fld>
            <a:endParaRPr lang="nb-NO" dirty="0"/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304098" cy="2371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8645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 med bil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5406463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97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6" y="3658061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accent6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73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chemeClr val="accent6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30" y="5778435"/>
            <a:ext cx="7447285" cy="216456"/>
          </a:xfrm>
        </p:spPr>
        <p:txBody>
          <a:bodyPr/>
          <a:lstStyle>
            <a:lvl1pPr>
              <a:defRPr sz="1400">
                <a:solidFill>
                  <a:schemeClr val="accent6"/>
                </a:solidFill>
              </a:defRPr>
            </a:lvl1pPr>
          </a:lstStyle>
          <a:p>
            <a:fld id="{AE2E174F-17E6-400E-8DE8-3F94879391C0}" type="datetime1">
              <a:rPr lang="nb-NO" smtClean="0">
                <a:solidFill>
                  <a:srgbClr val="3F5B6D"/>
                </a:solidFill>
              </a:rPr>
              <a:pPr/>
              <a:t>07.12.2015</a:t>
            </a:fld>
            <a:endParaRPr lang="nb-NO" dirty="0">
              <a:solidFill>
                <a:srgbClr val="3F5B6D"/>
              </a:solidFill>
            </a:endParaRPr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endParaRPr lang="nb-NO" sz="1000" dirty="0" smtClean="0">
              <a:solidFill>
                <a:prstClr val="white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9405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 med bilde #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399615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21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6" y="3658061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accent6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73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chemeClr val="accent6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30" y="5778435"/>
            <a:ext cx="7447285" cy="216456"/>
          </a:xfrm>
        </p:spPr>
        <p:txBody>
          <a:bodyPr/>
          <a:lstStyle>
            <a:lvl1pPr>
              <a:defRPr sz="1400">
                <a:solidFill>
                  <a:schemeClr val="accent6"/>
                </a:solidFill>
              </a:defRPr>
            </a:lvl1pPr>
          </a:lstStyle>
          <a:p>
            <a:fld id="{FA721AD7-4244-469F-9EE7-28190EE27D0E}" type="datetime1">
              <a:rPr lang="nb-NO" smtClean="0">
                <a:solidFill>
                  <a:srgbClr val="3F5B6D"/>
                </a:solidFill>
              </a:rPr>
              <a:pPr/>
              <a:t>07.12.2015</a:t>
            </a:fld>
            <a:endParaRPr lang="nb-NO" dirty="0">
              <a:solidFill>
                <a:srgbClr val="3F5B6D"/>
              </a:solidFill>
            </a:endParaRPr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endParaRPr lang="nb-NO" sz="1000" dirty="0" smtClean="0">
              <a:solidFill>
                <a:prstClr val="white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8753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 med bil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6429095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4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6" y="3658061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accent6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73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chemeClr val="accent6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30" y="5778435"/>
            <a:ext cx="7447285" cy="216456"/>
          </a:xfrm>
        </p:spPr>
        <p:txBody>
          <a:bodyPr/>
          <a:lstStyle>
            <a:lvl1pPr>
              <a:defRPr sz="1400">
                <a:solidFill>
                  <a:schemeClr val="accent6"/>
                </a:solidFill>
              </a:defRPr>
            </a:lvl1pPr>
          </a:lstStyle>
          <a:p>
            <a:fld id="{AE2E174F-17E6-400E-8DE8-3F94879391C0}" type="datetime1">
              <a:rPr lang="nb-NO" smtClean="0"/>
              <a:pPr/>
              <a:t>07.12.2015</a:t>
            </a:fld>
            <a:endParaRPr lang="nb-NO" dirty="0"/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5079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4578269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4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053C5-C548-4C42-883F-773066924361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5360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med logo">
    <p:bg>
      <p:bgPr>
        <a:solidFill>
          <a:srgbClr val="E9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511377-37BB-4F33-9F23-ECC5B6253940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7585" y="6024507"/>
            <a:ext cx="2298002" cy="835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5766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94C05-BBB4-4981-8B9D-510090B86873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886206" y="1600576"/>
            <a:ext cx="3594999" cy="452701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64408" y="1600576"/>
            <a:ext cx="3594999" cy="452701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7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510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17E8-1095-4EE2-AB79-00029BFE13D3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5311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784658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455764" y="430466"/>
            <a:ext cx="8254340" cy="59860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6" y="3092893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ADEE4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7348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532114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455764" y="430466"/>
            <a:ext cx="8254340" cy="5986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6" y="3092893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9DABB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9103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455764" y="430466"/>
            <a:ext cx="8254340" cy="59860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6" y="3092893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0090A8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7731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1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7076769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17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endParaRPr lang="nb-NO" sz="1000" dirty="0" smtClean="0">
              <a:solidFill>
                <a:prstClr val="white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6582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143159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1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endParaRPr lang="nb-NO" sz="1000" dirty="0" smtClean="0">
              <a:solidFill>
                <a:prstClr val="white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3219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9654498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65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endParaRPr lang="nb-NO" sz="1000" dirty="0" smtClean="0">
              <a:solidFill>
                <a:prstClr val="white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0910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 med bilde #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783791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7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6" y="3658061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accent6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73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chemeClr val="accent6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30" y="5778435"/>
            <a:ext cx="7447285" cy="216456"/>
          </a:xfrm>
        </p:spPr>
        <p:txBody>
          <a:bodyPr/>
          <a:lstStyle>
            <a:lvl1pPr>
              <a:defRPr sz="1400">
                <a:solidFill>
                  <a:schemeClr val="accent6"/>
                </a:solidFill>
              </a:defRPr>
            </a:lvl1pPr>
          </a:lstStyle>
          <a:p>
            <a:fld id="{FA721AD7-4244-469F-9EE7-28190EE27D0E}" type="datetime1">
              <a:rPr lang="nb-NO" smtClean="0"/>
              <a:pPr/>
              <a:t>07.12.2015</a:t>
            </a:fld>
            <a:endParaRPr lang="nb-NO" dirty="0"/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6993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edragsholder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8145817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86206" y="3074788"/>
            <a:ext cx="7373201" cy="569387"/>
          </a:xfrm>
        </p:spPr>
        <p:txBody>
          <a:bodyPr/>
          <a:lstStyle>
            <a:lvl1pPr>
              <a:defRPr>
                <a:solidFill>
                  <a:srgbClr val="BADEE4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2" hasCustomPrompt="1"/>
          </p:nvPr>
        </p:nvSpPr>
        <p:spPr>
          <a:xfrm>
            <a:off x="2269452" y="3719033"/>
            <a:ext cx="5989955" cy="324683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</a:defRPr>
            </a:lvl1pPr>
            <a:lvl2pPr marL="457051" indent="0">
              <a:buNone/>
              <a:defRPr>
                <a:solidFill>
                  <a:srgbClr val="BADEE4"/>
                </a:solidFill>
              </a:defRPr>
            </a:lvl2pPr>
            <a:lvl3pPr marL="914098" indent="0">
              <a:buNone/>
              <a:defRPr>
                <a:solidFill>
                  <a:srgbClr val="BADEE4"/>
                </a:solidFill>
              </a:defRPr>
            </a:lvl3pPr>
            <a:lvl4pPr marL="1371149" indent="0">
              <a:buNone/>
              <a:defRPr>
                <a:solidFill>
                  <a:srgbClr val="BADEE4"/>
                </a:solidFill>
              </a:defRPr>
            </a:lvl4pPr>
            <a:lvl5pPr marL="1828198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smtClean="0"/>
              <a:t>Telefon</a:t>
            </a:r>
          </a:p>
        </p:txBody>
      </p:sp>
      <p:sp>
        <p:nvSpPr>
          <p:cNvPr id="12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2272708" y="4046344"/>
            <a:ext cx="5986696" cy="3246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</a:defRPr>
            </a:lvl1pPr>
            <a:lvl2pPr marL="457051" indent="0">
              <a:buNone/>
              <a:defRPr>
                <a:solidFill>
                  <a:srgbClr val="BADEE4"/>
                </a:solidFill>
              </a:defRPr>
            </a:lvl2pPr>
            <a:lvl3pPr marL="914098" indent="0">
              <a:buNone/>
              <a:defRPr>
                <a:solidFill>
                  <a:srgbClr val="BADEE4"/>
                </a:solidFill>
              </a:defRPr>
            </a:lvl3pPr>
            <a:lvl4pPr marL="1371149" indent="0">
              <a:buNone/>
              <a:defRPr>
                <a:solidFill>
                  <a:srgbClr val="BADEE4"/>
                </a:solidFill>
              </a:defRPr>
            </a:lvl4pPr>
            <a:lvl5pPr marL="1828198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smtClean="0"/>
              <a:t>E-post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2269452" y="4373400"/>
            <a:ext cx="5989955" cy="324683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</a:defRPr>
            </a:lvl1pPr>
            <a:lvl2pPr marL="457051" indent="0">
              <a:buNone/>
              <a:defRPr>
                <a:solidFill>
                  <a:srgbClr val="BADEE4"/>
                </a:solidFill>
              </a:defRPr>
            </a:lvl2pPr>
            <a:lvl3pPr marL="914098" indent="0">
              <a:buNone/>
              <a:defRPr>
                <a:solidFill>
                  <a:srgbClr val="BADEE4"/>
                </a:solidFill>
              </a:defRPr>
            </a:lvl3pPr>
            <a:lvl4pPr marL="1371149" indent="0">
              <a:buNone/>
              <a:defRPr>
                <a:solidFill>
                  <a:srgbClr val="BADEE4"/>
                </a:solidFill>
              </a:defRPr>
            </a:lvl4pPr>
            <a:lvl5pPr marL="1828198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err="1" smtClean="0"/>
              <a:t>Twitter</a:t>
            </a:r>
            <a:endParaRPr lang="nb-NO" dirty="0" smtClean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2389435" cy="2444294"/>
          </a:xfrm>
          <a:prstGeom prst="rect">
            <a:avLst/>
          </a:prstGeom>
        </p:spPr>
      </p:pic>
      <p:sp>
        <p:nvSpPr>
          <p:cNvPr id="10" name="Plassholder f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886206" y="3719034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</a:defRPr>
            </a:lvl1pPr>
          </a:lstStyle>
          <a:p>
            <a:r>
              <a:rPr lang="nb-NO" dirty="0" smtClean="0">
                <a:solidFill>
                  <a:srgbClr val="BADEE4"/>
                </a:solidFill>
              </a:rPr>
              <a:t>T.</a:t>
            </a:r>
            <a:endParaRPr lang="nb-NO" dirty="0"/>
          </a:p>
        </p:txBody>
      </p:sp>
      <p:sp>
        <p:nvSpPr>
          <p:cNvPr id="20" name="Plassholder f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886206" y="4061065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</a:defRPr>
            </a:lvl1pPr>
          </a:lstStyle>
          <a:p>
            <a:r>
              <a:rPr lang="nb-NO" dirty="0" smtClean="0">
                <a:solidFill>
                  <a:srgbClr val="BADEE4"/>
                </a:solidFill>
              </a:rPr>
              <a:t>E.</a:t>
            </a:r>
            <a:endParaRPr lang="nb-NO" dirty="0"/>
          </a:p>
        </p:txBody>
      </p:sp>
      <p:sp>
        <p:nvSpPr>
          <p:cNvPr id="21" name="Plassholder f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886206" y="4394542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</a:defRPr>
            </a:lvl1pPr>
          </a:lstStyle>
          <a:p>
            <a:r>
              <a:rPr lang="nb-NO" dirty="0" err="1" smtClean="0">
                <a:solidFill>
                  <a:srgbClr val="BADEE4"/>
                </a:solidFill>
              </a:rPr>
              <a:t>Twitter</a:t>
            </a:r>
            <a:r>
              <a:rPr lang="nb-NO" dirty="0" smtClean="0">
                <a:solidFill>
                  <a:srgbClr val="BADEE4"/>
                </a:solidFill>
              </a:rPr>
              <a:t>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777166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tnings/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917255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504910" cy="3712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7130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23606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tel, teks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3906" y="274704"/>
            <a:ext cx="8497776" cy="569387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sz="half" idx="1"/>
          </p:nvPr>
        </p:nvSpPr>
        <p:spPr>
          <a:xfrm>
            <a:off x="323906" y="1600574"/>
            <a:ext cx="4172675" cy="4134807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9010" y="1600574"/>
            <a:ext cx="4172675" cy="4134807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0"/>
          </p:nvPr>
        </p:nvSpPr>
        <p:spPr>
          <a:xfrm>
            <a:off x="2411836" y="6378835"/>
            <a:ext cx="4321925" cy="1231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1"/>
          </p:nvPr>
        </p:nvSpPr>
        <p:spPr>
          <a:xfrm>
            <a:off x="8389810" y="5301891"/>
            <a:ext cx="476333" cy="1231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AE11C8-7B2B-4CAA-B021-3FC338D35A2F}" type="slidenum">
              <a:rPr lang="nb-NO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2"/>
          </p:nvPr>
        </p:nvSpPr>
        <p:spPr>
          <a:xfrm>
            <a:off x="7813448" y="6066397"/>
            <a:ext cx="1008237" cy="246221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endParaRPr lang="nb-NO">
              <a:solidFill>
                <a:prstClr val="black"/>
              </a:solidFill>
            </a:endParaRPr>
          </a:p>
          <a:p>
            <a:pPr>
              <a:defRPr/>
            </a:pPr>
            <a:fld id="{8F437569-C361-48CC-B058-356B0EEB4987}" type="datetime1">
              <a:rPr lang="nb-NO">
                <a:solidFill>
                  <a:prstClr val="black"/>
                </a:solidFill>
              </a:rPr>
              <a:pPr>
                <a:defRPr/>
              </a:pPr>
              <a:t>07.12.2015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405687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side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5922672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6" y="3656994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148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ADEE4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27" y="5778435"/>
            <a:ext cx="7447286" cy="216456"/>
          </a:xfrm>
        </p:spPr>
        <p:txBody>
          <a:bodyPr/>
          <a:lstStyle>
            <a:lvl1pPr>
              <a:defRPr sz="1400">
                <a:solidFill>
                  <a:srgbClr val="74C4D7"/>
                </a:solidFill>
              </a:defRPr>
            </a:lvl1pPr>
          </a:lstStyle>
          <a:p>
            <a:fld id="{C4C3BEF0-BA3B-419E-AECF-7B2C94D9F49B}" type="datetime1">
              <a:rPr lang="nb-NO" smtClean="0"/>
              <a:pPr/>
              <a:t>07.12.2015</a:t>
            </a:fld>
            <a:endParaRPr lang="nb-NO" dirty="0"/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304098" cy="2371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9121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 med bil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8986700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64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6" y="3658061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accent6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73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chemeClr val="accent6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30" y="5778435"/>
            <a:ext cx="7447285" cy="216456"/>
          </a:xfrm>
        </p:spPr>
        <p:txBody>
          <a:bodyPr/>
          <a:lstStyle>
            <a:lvl1pPr>
              <a:defRPr sz="1400">
                <a:solidFill>
                  <a:schemeClr val="accent6"/>
                </a:solidFill>
              </a:defRPr>
            </a:lvl1pPr>
          </a:lstStyle>
          <a:p>
            <a:fld id="{AE2E174F-17E6-400E-8DE8-3F94879391C0}" type="datetime1">
              <a:rPr lang="nb-NO" smtClean="0">
                <a:solidFill>
                  <a:srgbClr val="3F5B6D"/>
                </a:solidFill>
              </a:rPr>
              <a:pPr/>
              <a:t>07.12.2015</a:t>
            </a:fld>
            <a:endParaRPr lang="nb-NO" dirty="0">
              <a:solidFill>
                <a:srgbClr val="3F5B6D"/>
              </a:solidFill>
            </a:endParaRPr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endParaRPr lang="nb-NO" sz="1000" dirty="0" smtClean="0">
              <a:solidFill>
                <a:prstClr val="white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6737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 med bilde #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2792266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88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6" y="3658061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accent6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73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chemeClr val="accent6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30" y="5778435"/>
            <a:ext cx="7447285" cy="216456"/>
          </a:xfrm>
        </p:spPr>
        <p:txBody>
          <a:bodyPr/>
          <a:lstStyle>
            <a:lvl1pPr>
              <a:defRPr sz="1400">
                <a:solidFill>
                  <a:schemeClr val="accent6"/>
                </a:solidFill>
              </a:defRPr>
            </a:lvl1pPr>
          </a:lstStyle>
          <a:p>
            <a:fld id="{FA721AD7-4244-469F-9EE7-28190EE27D0E}" type="datetime1">
              <a:rPr lang="nb-NO" smtClean="0">
                <a:solidFill>
                  <a:srgbClr val="3F5B6D"/>
                </a:solidFill>
              </a:rPr>
              <a:pPr/>
              <a:t>07.12.2015</a:t>
            </a:fld>
            <a:endParaRPr lang="nb-NO" dirty="0">
              <a:solidFill>
                <a:srgbClr val="3F5B6D"/>
              </a:solidFill>
            </a:endParaRPr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endParaRPr lang="nb-NO" sz="1000" dirty="0" smtClean="0">
              <a:solidFill>
                <a:prstClr val="white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8192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4537174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1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053C5-C548-4C42-883F-773066924361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9399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med logo">
    <p:bg>
      <p:bgPr>
        <a:solidFill>
          <a:srgbClr val="E9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511377-37BB-4F33-9F23-ECC5B6253940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7585" y="6024507"/>
            <a:ext cx="2298002" cy="835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1586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94C05-BBB4-4981-8B9D-510090B86873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886206" y="1600576"/>
            <a:ext cx="3594999" cy="452701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64408" y="1600576"/>
            <a:ext cx="3594999" cy="452701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7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920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048362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053C5-C548-4C42-883F-773066924361}" type="datetime1">
              <a:rPr lang="nb-NO" smtClean="0"/>
              <a:pPr/>
              <a:t>07.12.2015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17E8-1095-4EE2-AB79-00029BFE13D3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3046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034482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3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455764" y="430466"/>
            <a:ext cx="8254340" cy="59860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6" y="3092893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ADEE4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1187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8795443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6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455764" y="430466"/>
            <a:ext cx="8254340" cy="5986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6" y="3092893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9DABB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1583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455764" y="430466"/>
            <a:ext cx="8254340" cy="59860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6" y="3092893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0090A8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5596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1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2395530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84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endParaRPr lang="nb-NO" sz="1000" dirty="0" smtClean="0">
              <a:solidFill>
                <a:prstClr val="white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199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7402060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08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endParaRPr lang="nb-NO" sz="1000" dirty="0" smtClean="0">
              <a:solidFill>
                <a:prstClr val="white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185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9018753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32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endParaRPr lang="nb-NO" sz="1000" dirty="0" smtClean="0">
              <a:solidFill>
                <a:prstClr val="white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2161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edragsholder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5733297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86206" y="3074788"/>
            <a:ext cx="7373201" cy="569387"/>
          </a:xfrm>
        </p:spPr>
        <p:txBody>
          <a:bodyPr/>
          <a:lstStyle>
            <a:lvl1pPr>
              <a:defRPr>
                <a:solidFill>
                  <a:srgbClr val="BADEE4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2" hasCustomPrompt="1"/>
          </p:nvPr>
        </p:nvSpPr>
        <p:spPr>
          <a:xfrm>
            <a:off x="2269452" y="3719033"/>
            <a:ext cx="5989955" cy="324683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</a:defRPr>
            </a:lvl1pPr>
            <a:lvl2pPr marL="457051" indent="0">
              <a:buNone/>
              <a:defRPr>
                <a:solidFill>
                  <a:srgbClr val="BADEE4"/>
                </a:solidFill>
              </a:defRPr>
            </a:lvl2pPr>
            <a:lvl3pPr marL="914098" indent="0">
              <a:buNone/>
              <a:defRPr>
                <a:solidFill>
                  <a:srgbClr val="BADEE4"/>
                </a:solidFill>
              </a:defRPr>
            </a:lvl3pPr>
            <a:lvl4pPr marL="1371149" indent="0">
              <a:buNone/>
              <a:defRPr>
                <a:solidFill>
                  <a:srgbClr val="BADEE4"/>
                </a:solidFill>
              </a:defRPr>
            </a:lvl4pPr>
            <a:lvl5pPr marL="1828198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smtClean="0"/>
              <a:t>Telefon</a:t>
            </a:r>
          </a:p>
        </p:txBody>
      </p:sp>
      <p:sp>
        <p:nvSpPr>
          <p:cNvPr id="12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2272708" y="4046344"/>
            <a:ext cx="5986696" cy="3246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</a:defRPr>
            </a:lvl1pPr>
            <a:lvl2pPr marL="457051" indent="0">
              <a:buNone/>
              <a:defRPr>
                <a:solidFill>
                  <a:srgbClr val="BADEE4"/>
                </a:solidFill>
              </a:defRPr>
            </a:lvl2pPr>
            <a:lvl3pPr marL="914098" indent="0">
              <a:buNone/>
              <a:defRPr>
                <a:solidFill>
                  <a:srgbClr val="BADEE4"/>
                </a:solidFill>
              </a:defRPr>
            </a:lvl3pPr>
            <a:lvl4pPr marL="1371149" indent="0">
              <a:buNone/>
              <a:defRPr>
                <a:solidFill>
                  <a:srgbClr val="BADEE4"/>
                </a:solidFill>
              </a:defRPr>
            </a:lvl4pPr>
            <a:lvl5pPr marL="1828198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smtClean="0"/>
              <a:t>E-post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2269452" y="4373400"/>
            <a:ext cx="5989955" cy="324683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</a:defRPr>
            </a:lvl1pPr>
            <a:lvl2pPr marL="457051" indent="0">
              <a:buNone/>
              <a:defRPr>
                <a:solidFill>
                  <a:srgbClr val="BADEE4"/>
                </a:solidFill>
              </a:defRPr>
            </a:lvl2pPr>
            <a:lvl3pPr marL="914098" indent="0">
              <a:buNone/>
              <a:defRPr>
                <a:solidFill>
                  <a:srgbClr val="BADEE4"/>
                </a:solidFill>
              </a:defRPr>
            </a:lvl3pPr>
            <a:lvl4pPr marL="1371149" indent="0">
              <a:buNone/>
              <a:defRPr>
                <a:solidFill>
                  <a:srgbClr val="BADEE4"/>
                </a:solidFill>
              </a:defRPr>
            </a:lvl4pPr>
            <a:lvl5pPr marL="1828198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err="1" smtClean="0"/>
              <a:t>Twitter</a:t>
            </a:r>
            <a:endParaRPr lang="nb-NO" dirty="0" smtClean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2389435" cy="2444294"/>
          </a:xfrm>
          <a:prstGeom prst="rect">
            <a:avLst/>
          </a:prstGeom>
        </p:spPr>
      </p:pic>
      <p:sp>
        <p:nvSpPr>
          <p:cNvPr id="10" name="Plassholder f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886206" y="3719034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</a:defRPr>
            </a:lvl1pPr>
          </a:lstStyle>
          <a:p>
            <a:r>
              <a:rPr lang="nb-NO" dirty="0" smtClean="0">
                <a:solidFill>
                  <a:srgbClr val="BADEE4"/>
                </a:solidFill>
              </a:rPr>
              <a:t>T.</a:t>
            </a:r>
            <a:endParaRPr lang="nb-NO" dirty="0"/>
          </a:p>
        </p:txBody>
      </p:sp>
      <p:sp>
        <p:nvSpPr>
          <p:cNvPr id="20" name="Plassholder f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886206" y="4061065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</a:defRPr>
            </a:lvl1pPr>
          </a:lstStyle>
          <a:p>
            <a:r>
              <a:rPr lang="nb-NO" dirty="0" smtClean="0">
                <a:solidFill>
                  <a:srgbClr val="BADEE4"/>
                </a:solidFill>
              </a:rPr>
              <a:t>E.</a:t>
            </a:r>
            <a:endParaRPr lang="nb-NO" dirty="0"/>
          </a:p>
        </p:txBody>
      </p:sp>
      <p:sp>
        <p:nvSpPr>
          <p:cNvPr id="21" name="Plassholder f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886206" y="4394542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</a:defRPr>
            </a:lvl1pPr>
          </a:lstStyle>
          <a:p>
            <a:r>
              <a:rPr lang="nb-NO" dirty="0" err="1" smtClean="0">
                <a:solidFill>
                  <a:srgbClr val="BADEE4"/>
                </a:solidFill>
              </a:rPr>
              <a:t>Twitter</a:t>
            </a:r>
            <a:r>
              <a:rPr lang="nb-NO" dirty="0" smtClean="0">
                <a:solidFill>
                  <a:srgbClr val="BADEE4"/>
                </a:solidFill>
              </a:rPr>
              <a:t>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478427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tnings/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576943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504910" cy="3712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2411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1471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med logo">
    <p:bg>
      <p:bgPr>
        <a:solidFill>
          <a:srgbClr val="E9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511377-37BB-4F33-9F23-ECC5B6253940}" type="datetime1">
              <a:rPr lang="nb-NO" smtClean="0"/>
              <a:pPr/>
              <a:t>07.12.2015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7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7585" y="6024507"/>
            <a:ext cx="2298002" cy="835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85750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side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5160241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23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6" y="3656994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148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ADEE4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27" y="5778435"/>
            <a:ext cx="7447286" cy="216456"/>
          </a:xfrm>
        </p:spPr>
        <p:txBody>
          <a:bodyPr/>
          <a:lstStyle>
            <a:lvl1pPr>
              <a:defRPr sz="1400">
                <a:solidFill>
                  <a:srgbClr val="74C4D7"/>
                </a:solidFill>
              </a:defRPr>
            </a:lvl1pPr>
          </a:lstStyle>
          <a:p>
            <a:fld id="{C4C3BEF0-BA3B-419E-AECF-7B2C94D9F49B}" type="datetime1">
              <a:rPr lang="nb-NO" smtClean="0"/>
              <a:pPr/>
              <a:t>07.12.2015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4"/>
            <a:ext cx="2357652" cy="234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7444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 med bil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4386683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47"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6" y="3658061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accent6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73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chemeClr val="accent6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30" y="5778435"/>
            <a:ext cx="7447285" cy="216456"/>
          </a:xfrm>
        </p:spPr>
        <p:txBody>
          <a:bodyPr/>
          <a:lstStyle>
            <a:lvl1pPr>
              <a:defRPr sz="1400">
                <a:solidFill>
                  <a:schemeClr val="accent6"/>
                </a:solidFill>
              </a:defRPr>
            </a:lvl1pPr>
          </a:lstStyle>
          <a:p>
            <a:fld id="{AE2E174F-17E6-400E-8DE8-3F94879391C0}" type="datetime1">
              <a:rPr lang="nb-NO" smtClean="0">
                <a:solidFill>
                  <a:srgbClr val="3F5B6D"/>
                </a:solidFill>
              </a:rPr>
              <a:pPr/>
              <a:t>07.12.2015</a:t>
            </a:fld>
            <a:endParaRPr lang="nb-NO" dirty="0">
              <a:solidFill>
                <a:srgbClr val="3F5B6D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"/>
            <a:ext cx="2477678" cy="2417805"/>
          </a:xfrm>
          <a:prstGeom prst="rect">
            <a:avLst/>
          </a:prstGeom>
        </p:spPr>
      </p:pic>
      <p:sp>
        <p:nvSpPr>
          <p:cNvPr id="7" name="TekstSylinder 6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endParaRPr lang="nb-NO" sz="1000" dirty="0" smtClean="0">
              <a:solidFill>
                <a:prstClr val="white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1213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 med bilde #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638734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71"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6" y="3658061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accent6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73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chemeClr val="accent6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30" y="5778435"/>
            <a:ext cx="7447285" cy="216456"/>
          </a:xfrm>
        </p:spPr>
        <p:txBody>
          <a:bodyPr/>
          <a:lstStyle>
            <a:lvl1pPr>
              <a:defRPr sz="1400">
                <a:solidFill>
                  <a:schemeClr val="accent6"/>
                </a:solidFill>
              </a:defRPr>
            </a:lvl1pPr>
          </a:lstStyle>
          <a:p>
            <a:fld id="{FA721AD7-4244-469F-9EE7-28190EE27D0E}" type="datetime1">
              <a:rPr lang="nb-NO" smtClean="0">
                <a:solidFill>
                  <a:srgbClr val="3F5B6D"/>
                </a:solidFill>
              </a:rPr>
              <a:pPr/>
              <a:t>07.12.2015</a:t>
            </a:fld>
            <a:endParaRPr lang="nb-NO" dirty="0">
              <a:solidFill>
                <a:srgbClr val="3F5B6D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"/>
            <a:ext cx="2477678" cy="2417805"/>
          </a:xfrm>
          <a:prstGeom prst="rect">
            <a:avLst/>
          </a:prstGeom>
        </p:spPr>
      </p:pic>
      <p:sp>
        <p:nvSpPr>
          <p:cNvPr id="7" name="TekstSylinder 6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endParaRPr lang="nb-NO" sz="1000" dirty="0" smtClean="0">
              <a:solidFill>
                <a:prstClr val="white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9422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457086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95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053C5-C548-4C42-883F-773066924361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68323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med logo">
    <p:bg>
      <p:bgPr>
        <a:solidFill>
          <a:srgbClr val="E9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511377-37BB-4F33-9F23-ECC5B6253940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6538" y="6122244"/>
            <a:ext cx="2229053" cy="737345"/>
          </a:xfrm>
          <a:prstGeom prst="rect">
            <a:avLst/>
          </a:prstGeom>
        </p:spPr>
      </p:pic>
      <p:sp>
        <p:nvSpPr>
          <p:cNvPr id="7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116664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94C05-BBB4-4981-8B9D-510090B86873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886206" y="1600576"/>
            <a:ext cx="3594999" cy="452701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64408" y="1600576"/>
            <a:ext cx="3594999" cy="452701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7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12107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17E8-1095-4EE2-AB79-00029BFE13D3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00315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1843370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19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455764" y="430466"/>
            <a:ext cx="8254340" cy="59860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"/>
            <a:ext cx="1886121" cy="1851935"/>
          </a:xfrm>
          <a:prstGeom prst="rect">
            <a:avLst/>
          </a:prstGeom>
        </p:spPr>
      </p:pic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6" y="3092893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ADEE4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5281780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2409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43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455764" y="430466"/>
            <a:ext cx="8254340" cy="5986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"/>
            <a:ext cx="1886121" cy="1851935"/>
          </a:xfrm>
          <a:prstGeom prst="rect">
            <a:avLst/>
          </a:prstGeom>
        </p:spPr>
      </p:pic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6" y="3092893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9DABB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849125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455764" y="430466"/>
            <a:ext cx="8254340" cy="59860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"/>
            <a:ext cx="1886121" cy="1851935"/>
          </a:xfrm>
          <a:prstGeom prst="rect">
            <a:avLst/>
          </a:prstGeom>
        </p:spPr>
      </p:pic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6" y="3092893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0090A8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767660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94C05-BBB4-4981-8B9D-510090B86873}" type="datetime1">
              <a:rPr lang="nb-NO" smtClean="0"/>
              <a:pPr/>
              <a:t>07.12.2015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886206" y="1600576"/>
            <a:ext cx="3594999" cy="452701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64408" y="1600576"/>
            <a:ext cx="3594999" cy="452701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7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1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5003186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67"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"/>
            <a:ext cx="2477678" cy="2417805"/>
          </a:xfrm>
          <a:prstGeom prst="rect">
            <a:avLst/>
          </a:prstGeom>
        </p:spPr>
      </p:pic>
      <p:sp>
        <p:nvSpPr>
          <p:cNvPr id="3" name="TekstSylinder 2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endParaRPr lang="nb-NO" sz="1000" dirty="0" smtClean="0">
              <a:solidFill>
                <a:prstClr val="white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00287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9037494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1"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"/>
            <a:ext cx="2477678" cy="2417805"/>
          </a:xfrm>
          <a:prstGeom prst="rect">
            <a:avLst/>
          </a:prstGeom>
        </p:spPr>
      </p:pic>
      <p:sp>
        <p:nvSpPr>
          <p:cNvPr id="3" name="TekstSylinder 2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endParaRPr lang="nb-NO" sz="1000" dirty="0" smtClean="0">
              <a:solidFill>
                <a:prstClr val="white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674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861821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15"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"/>
            <a:ext cx="2477678" cy="2417805"/>
          </a:xfrm>
          <a:prstGeom prst="rect">
            <a:avLst/>
          </a:prstGeom>
        </p:spPr>
      </p:pic>
      <p:sp>
        <p:nvSpPr>
          <p:cNvPr id="3" name="TekstSylinder 2"/>
          <p:cNvSpPr txBox="1"/>
          <p:nvPr userDrawn="1"/>
        </p:nvSpPr>
        <p:spPr>
          <a:xfrm>
            <a:off x="-1728440" y="4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02" tIns="45702" rIns="91402" bIns="45702" rtlCol="0">
            <a:spAutoFit/>
          </a:bodyPr>
          <a:lstStyle/>
          <a:p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endParaRPr lang="nb-NO" sz="1000" dirty="0" smtClean="0">
              <a:solidFill>
                <a:prstClr val="white"/>
              </a:solidFill>
            </a:endParaRP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379" indent="-171379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32964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edragsholder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020294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39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86206" y="3074788"/>
            <a:ext cx="7373201" cy="569387"/>
          </a:xfrm>
        </p:spPr>
        <p:txBody>
          <a:bodyPr/>
          <a:lstStyle>
            <a:lvl1pPr>
              <a:defRPr>
                <a:solidFill>
                  <a:srgbClr val="BADEE4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2374799" cy="2537838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2" hasCustomPrompt="1"/>
          </p:nvPr>
        </p:nvSpPr>
        <p:spPr>
          <a:xfrm>
            <a:off x="2269452" y="3719033"/>
            <a:ext cx="5989955" cy="324683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</a:defRPr>
            </a:lvl1pPr>
            <a:lvl2pPr marL="457051" indent="0">
              <a:buNone/>
              <a:defRPr>
                <a:solidFill>
                  <a:srgbClr val="BADEE4"/>
                </a:solidFill>
              </a:defRPr>
            </a:lvl2pPr>
            <a:lvl3pPr marL="914098" indent="0">
              <a:buNone/>
              <a:defRPr>
                <a:solidFill>
                  <a:srgbClr val="BADEE4"/>
                </a:solidFill>
              </a:defRPr>
            </a:lvl3pPr>
            <a:lvl4pPr marL="1371149" indent="0">
              <a:buNone/>
              <a:defRPr>
                <a:solidFill>
                  <a:srgbClr val="BADEE4"/>
                </a:solidFill>
              </a:defRPr>
            </a:lvl4pPr>
            <a:lvl5pPr marL="1828198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smtClean="0"/>
              <a:t>Telefon</a:t>
            </a:r>
          </a:p>
        </p:txBody>
      </p:sp>
      <p:sp>
        <p:nvSpPr>
          <p:cNvPr id="12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2272708" y="4046344"/>
            <a:ext cx="5986696" cy="3246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</a:defRPr>
            </a:lvl1pPr>
            <a:lvl2pPr marL="457051" indent="0">
              <a:buNone/>
              <a:defRPr>
                <a:solidFill>
                  <a:srgbClr val="BADEE4"/>
                </a:solidFill>
              </a:defRPr>
            </a:lvl2pPr>
            <a:lvl3pPr marL="914098" indent="0">
              <a:buNone/>
              <a:defRPr>
                <a:solidFill>
                  <a:srgbClr val="BADEE4"/>
                </a:solidFill>
              </a:defRPr>
            </a:lvl3pPr>
            <a:lvl4pPr marL="1371149" indent="0">
              <a:buNone/>
              <a:defRPr>
                <a:solidFill>
                  <a:srgbClr val="BADEE4"/>
                </a:solidFill>
              </a:defRPr>
            </a:lvl4pPr>
            <a:lvl5pPr marL="1828198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smtClean="0"/>
              <a:t>E-post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2269452" y="4373400"/>
            <a:ext cx="5989955" cy="324683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</a:defRPr>
            </a:lvl1pPr>
            <a:lvl2pPr marL="457051" indent="0">
              <a:buNone/>
              <a:defRPr>
                <a:solidFill>
                  <a:srgbClr val="BADEE4"/>
                </a:solidFill>
              </a:defRPr>
            </a:lvl2pPr>
            <a:lvl3pPr marL="914098" indent="0">
              <a:buNone/>
              <a:defRPr>
                <a:solidFill>
                  <a:srgbClr val="BADEE4"/>
                </a:solidFill>
              </a:defRPr>
            </a:lvl3pPr>
            <a:lvl4pPr marL="1371149" indent="0">
              <a:buNone/>
              <a:defRPr>
                <a:solidFill>
                  <a:srgbClr val="BADEE4"/>
                </a:solidFill>
              </a:defRPr>
            </a:lvl4pPr>
            <a:lvl5pPr marL="1828198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err="1" smtClean="0"/>
              <a:t>Twitter</a:t>
            </a:r>
            <a:endParaRPr lang="nb-NO" dirty="0" smtClean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886206" y="3719034"/>
            <a:ext cx="1063625" cy="327308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rgbClr val="BADEE4"/>
                </a:solidFill>
              </a:defRPr>
            </a:lvl1pPr>
          </a:lstStyle>
          <a:p>
            <a:r>
              <a:rPr lang="nb-NO" sz="2100" dirty="0" smtClean="0">
                <a:solidFill>
                  <a:srgbClr val="BADEE4"/>
                </a:solidFill>
              </a:rPr>
              <a:t>T.</a:t>
            </a:r>
          </a:p>
        </p:txBody>
      </p:sp>
      <p:sp>
        <p:nvSpPr>
          <p:cNvPr id="14" name="Plassholder for tekst 3"/>
          <p:cNvSpPr>
            <a:spLocks noGrp="1"/>
          </p:cNvSpPr>
          <p:nvPr>
            <p:ph type="body" sz="quarter" idx="16" hasCustomPrompt="1"/>
          </p:nvPr>
        </p:nvSpPr>
        <p:spPr>
          <a:xfrm>
            <a:off x="886206" y="4046342"/>
            <a:ext cx="1063625" cy="327308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rgbClr val="BADEE4"/>
                </a:solidFill>
              </a:defRPr>
            </a:lvl1pPr>
          </a:lstStyle>
          <a:p>
            <a:r>
              <a:rPr lang="nb-NO" sz="2100" dirty="0" smtClean="0">
                <a:solidFill>
                  <a:srgbClr val="BADEE4"/>
                </a:solidFill>
              </a:rPr>
              <a:t>E.</a:t>
            </a:r>
          </a:p>
        </p:txBody>
      </p:sp>
      <p:sp>
        <p:nvSpPr>
          <p:cNvPr id="15" name="Plassholder for tekst 3"/>
          <p:cNvSpPr>
            <a:spLocks noGrp="1"/>
          </p:cNvSpPr>
          <p:nvPr>
            <p:ph type="body" sz="quarter" idx="17" hasCustomPrompt="1"/>
          </p:nvPr>
        </p:nvSpPr>
        <p:spPr>
          <a:xfrm>
            <a:off x="886206" y="4373650"/>
            <a:ext cx="1063625" cy="327308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rgbClr val="BADEE4"/>
                </a:solidFill>
              </a:defRPr>
            </a:lvl1pPr>
          </a:lstStyle>
          <a:p>
            <a:r>
              <a:rPr lang="nb-NO" sz="2100" dirty="0" err="1" smtClean="0">
                <a:solidFill>
                  <a:srgbClr val="BADEE4"/>
                </a:solidFill>
              </a:rPr>
              <a:t>Twitter</a:t>
            </a:r>
            <a:r>
              <a:rPr lang="nb-NO" sz="2100" dirty="0" smtClean="0">
                <a:solidFill>
                  <a:srgbClr val="BADEE4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8159767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tnings/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9998895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63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"/>
            <a:ext cx="3669364" cy="3703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12566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AFD46-7D8B-43F5-B5CC-2C42EFA65ACD}" type="datetimeFigureOut">
              <a:rPr lang="de-CH" smtClean="0">
                <a:solidFill>
                  <a:prstClr val="black"/>
                </a:solidFill>
              </a:rPr>
              <a:pPr/>
              <a:t>07.12.2015</a:t>
            </a:fld>
            <a:endParaRPr lang="de-CH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E37F4-8F77-4F23-9E8B-CDCFCDE1E699}" type="slidenum">
              <a:rPr lang="de-CH" smtClean="0">
                <a:solidFill>
                  <a:prstClr val="black"/>
                </a:solidFill>
              </a:rPr>
              <a:pPr/>
              <a:t>‹#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994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side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2180232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17" tIns="32113" rIns="64217" bIns="32113" spcCol="0" rtlCol="0" anchor="ctr"/>
          <a:lstStyle/>
          <a:p>
            <a:pPr algn="ctr" defTabSz="913361"/>
            <a:endParaRPr lang="nb-NO">
              <a:solidFill>
                <a:prstClr val="white"/>
              </a:solidFill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17" tIns="32113" rIns="64217" bIns="32113" spcCol="0" rtlCol="0" anchor="ctr"/>
          <a:lstStyle/>
          <a:p>
            <a:pPr algn="ctr" defTabSz="913361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14" y="3657002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148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ADEE4"/>
                </a:solidFill>
              </a:defRPr>
            </a:lvl1pPr>
            <a:lvl2pPr marL="4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27" y="5778435"/>
            <a:ext cx="7447286" cy="216456"/>
          </a:xfrm>
        </p:spPr>
        <p:txBody>
          <a:bodyPr/>
          <a:lstStyle>
            <a:lvl1pPr>
              <a:defRPr sz="1400">
                <a:solidFill>
                  <a:srgbClr val="74C4D7"/>
                </a:solidFill>
              </a:defRPr>
            </a:lvl1pPr>
          </a:lstStyle>
          <a:p>
            <a:fld id="{C4C3BEF0-BA3B-419E-AECF-7B2C94D9F49B}" type="datetime1">
              <a:rPr lang="nb-NO" smtClean="0"/>
              <a:pPr/>
              <a:t>07.12.2015</a:t>
            </a:fld>
            <a:endParaRPr lang="nb-NO" dirty="0"/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304098" cy="2371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1243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 med bil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9760238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85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17" tIns="32113" rIns="64217" bIns="32113" spcCol="0" rtlCol="0" anchor="ctr"/>
          <a:lstStyle/>
          <a:p>
            <a:pPr algn="ctr" defTabSz="913361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14" y="3658069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accent6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747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chemeClr val="accent6"/>
                </a:solidFill>
              </a:defRPr>
            </a:lvl1pPr>
            <a:lvl2pPr marL="4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38" y="5778435"/>
            <a:ext cx="7447285" cy="216456"/>
          </a:xfrm>
        </p:spPr>
        <p:txBody>
          <a:bodyPr/>
          <a:lstStyle>
            <a:lvl1pPr>
              <a:defRPr sz="1400">
                <a:solidFill>
                  <a:schemeClr val="accent6"/>
                </a:solidFill>
              </a:defRPr>
            </a:lvl1pPr>
          </a:lstStyle>
          <a:p>
            <a:fld id="{AE2E174F-17E6-400E-8DE8-3F94879391C0}" type="datetime1">
              <a:rPr lang="nb-NO" smtClean="0">
                <a:solidFill>
                  <a:srgbClr val="3F5B6D"/>
                </a:solidFill>
              </a:rPr>
              <a:pPr/>
              <a:t>07.12.2015</a:t>
            </a:fld>
            <a:endParaRPr lang="nb-NO" dirty="0">
              <a:solidFill>
                <a:srgbClr val="3F5B6D"/>
              </a:solidFill>
            </a:endParaRPr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728440" y="12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330" tIns="45670" rIns="91330" bIns="45670" rtlCol="0">
            <a:spAutoFit/>
          </a:bodyPr>
          <a:lstStyle/>
          <a:p>
            <a:pPr defTabSz="913361"/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pPr defTabSz="913361"/>
            <a:endParaRPr lang="nb-NO" sz="1000" dirty="0" smtClean="0">
              <a:solidFill>
                <a:prstClr val="white"/>
              </a:solidFill>
            </a:endParaRP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92030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 med bilde #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7900475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9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17" tIns="32113" rIns="64217" bIns="32113" spcCol="0" rtlCol="0" anchor="ctr"/>
          <a:lstStyle/>
          <a:p>
            <a:pPr algn="ctr" defTabSz="913361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14" y="3658069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accent6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747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chemeClr val="accent6"/>
                </a:solidFill>
              </a:defRPr>
            </a:lvl1pPr>
            <a:lvl2pPr marL="4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38" y="5778435"/>
            <a:ext cx="7447285" cy="216456"/>
          </a:xfrm>
        </p:spPr>
        <p:txBody>
          <a:bodyPr/>
          <a:lstStyle>
            <a:lvl1pPr>
              <a:defRPr sz="1400">
                <a:solidFill>
                  <a:schemeClr val="accent6"/>
                </a:solidFill>
              </a:defRPr>
            </a:lvl1pPr>
          </a:lstStyle>
          <a:p>
            <a:fld id="{FA721AD7-4244-469F-9EE7-28190EE27D0E}" type="datetime1">
              <a:rPr lang="nb-NO" smtClean="0">
                <a:solidFill>
                  <a:srgbClr val="3F5B6D"/>
                </a:solidFill>
              </a:rPr>
              <a:pPr/>
              <a:t>07.12.2015</a:t>
            </a:fld>
            <a:endParaRPr lang="nb-NO" dirty="0">
              <a:solidFill>
                <a:srgbClr val="3F5B6D"/>
              </a:solidFill>
            </a:endParaRPr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728440" y="12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330" tIns="45670" rIns="91330" bIns="45670" rtlCol="0">
            <a:spAutoFit/>
          </a:bodyPr>
          <a:lstStyle/>
          <a:p>
            <a:pPr defTabSz="913361"/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pPr defTabSz="913361"/>
            <a:endParaRPr lang="nb-NO" sz="1000" dirty="0" smtClean="0">
              <a:solidFill>
                <a:prstClr val="white"/>
              </a:solidFill>
            </a:endParaRP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85237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0004204"/>
              </p:ext>
            </p:extLst>
          </p:nvPr>
        </p:nvGraphicFramePr>
        <p:xfrm>
          <a:off x="1599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59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053C5-C548-4C42-883F-773066924361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5668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17E8-1095-4EE2-AB79-00029BFE13D3}" type="datetime1">
              <a:rPr lang="nb-NO" smtClean="0"/>
              <a:pPr/>
              <a:t>07.12.201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5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75371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med logo">
    <p:bg>
      <p:bgPr>
        <a:solidFill>
          <a:srgbClr val="E9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511377-37BB-4F33-9F23-ECC5B6253940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7585" y="6024515"/>
            <a:ext cx="2298002" cy="835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52393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94C05-BBB4-4981-8B9D-510090B86873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886214" y="1600584"/>
            <a:ext cx="3594999" cy="452701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64416" y="1600584"/>
            <a:ext cx="3594999" cy="452701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7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4457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17E8-1095-4EE2-AB79-00029BFE13D3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73575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829828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17" tIns="32113" rIns="64217" bIns="32113" spcCol="0" rtlCol="0" anchor="ctr"/>
          <a:lstStyle/>
          <a:p>
            <a:pPr algn="ctr" defTabSz="913361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455772" y="430466"/>
            <a:ext cx="8254340" cy="59860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17" tIns="32113" rIns="64217" bIns="32113" spcCol="0" rtlCol="0" anchor="ctr"/>
          <a:lstStyle/>
          <a:p>
            <a:pPr algn="ctr" defTabSz="913361"/>
            <a:endParaRPr lang="nb-NO">
              <a:solidFill>
                <a:prstClr val="white"/>
              </a:solidFill>
            </a:endParaRPr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14" y="3092901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ADEE4"/>
                </a:solidFill>
              </a:defRPr>
            </a:lvl1pPr>
            <a:lvl2pPr marL="4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" y="11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9039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8251680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17" tIns="32113" rIns="64217" bIns="32113" spcCol="0" rtlCol="0" anchor="ctr"/>
          <a:lstStyle/>
          <a:p>
            <a:pPr algn="ctr" defTabSz="913361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455772" y="430466"/>
            <a:ext cx="8254340" cy="5986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17" tIns="32113" rIns="64217" bIns="32113" spcCol="0" rtlCol="0" anchor="ctr"/>
          <a:lstStyle/>
          <a:p>
            <a:pPr algn="ctr" defTabSz="913361"/>
            <a:endParaRPr lang="nb-NO">
              <a:solidFill>
                <a:prstClr val="white"/>
              </a:solidFill>
            </a:endParaRPr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14" y="3092901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9DABB"/>
                </a:solidFill>
              </a:defRPr>
            </a:lvl1pPr>
            <a:lvl2pPr marL="4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" y="11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79690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17" tIns="32113" rIns="64217" bIns="32113" spcCol="0" rtlCol="0" anchor="ctr"/>
          <a:lstStyle/>
          <a:p>
            <a:pPr algn="ctr" defTabSz="913361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455772" y="430466"/>
            <a:ext cx="8254340" cy="59860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17" tIns="32113" rIns="64217" bIns="32113" spcCol="0" rtlCol="0" anchor="ctr"/>
          <a:lstStyle/>
          <a:p>
            <a:pPr algn="ctr" defTabSz="913361"/>
            <a:endParaRPr lang="nb-NO">
              <a:solidFill>
                <a:prstClr val="white"/>
              </a:solidFill>
            </a:endParaRPr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14" y="3092901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0090A8"/>
                </a:solidFill>
              </a:defRPr>
            </a:lvl1pPr>
            <a:lvl2pPr marL="4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" y="11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36668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1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3304669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5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12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330" tIns="45670" rIns="91330" bIns="45670" rtlCol="0">
            <a:spAutoFit/>
          </a:bodyPr>
          <a:lstStyle/>
          <a:p>
            <a:pPr defTabSz="913361"/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pPr defTabSz="913361"/>
            <a:endParaRPr lang="nb-NO" sz="1000" dirty="0" smtClean="0">
              <a:solidFill>
                <a:prstClr val="white"/>
              </a:solidFill>
            </a:endParaRP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34886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6570163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29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12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330" tIns="45670" rIns="91330" bIns="45670" rtlCol="0">
            <a:spAutoFit/>
          </a:bodyPr>
          <a:lstStyle/>
          <a:p>
            <a:pPr defTabSz="913361"/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pPr defTabSz="913361"/>
            <a:endParaRPr lang="nb-NO" sz="1000" dirty="0" smtClean="0">
              <a:solidFill>
                <a:prstClr val="white"/>
              </a:solidFill>
            </a:endParaRP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5222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6450654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3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12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330" tIns="45670" rIns="91330" bIns="45670" rtlCol="0">
            <a:spAutoFit/>
          </a:bodyPr>
          <a:lstStyle/>
          <a:p>
            <a:pPr defTabSz="913361"/>
            <a:r>
              <a:rPr lang="nb-NO" sz="1000" b="1" dirty="0" smtClean="0">
                <a:solidFill>
                  <a:prstClr val="black"/>
                </a:solidFill>
              </a:rPr>
              <a:t>Utskifting av bakgrunnsbilde:</a:t>
            </a:r>
          </a:p>
          <a:p>
            <a:pPr defTabSz="913361"/>
            <a:endParaRPr lang="nb-NO" sz="1000" dirty="0" smtClean="0">
              <a:solidFill>
                <a:prstClr val="white"/>
              </a:solidFill>
            </a:endParaRP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prstClr val="black"/>
                </a:solidFill>
              </a:rPr>
              <a:t>«Formater bakgrunn»</a:t>
            </a: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Under </a:t>
            </a:r>
            <a:r>
              <a:rPr lang="nb-NO" sz="1000" b="1" dirty="0" smtClean="0">
                <a:solidFill>
                  <a:prstClr val="black"/>
                </a:solidFill>
              </a:rPr>
              <a:t>«Fyll»</a:t>
            </a:r>
            <a:r>
              <a:rPr lang="nb-NO" sz="1000" dirty="0" smtClean="0">
                <a:solidFill>
                  <a:prstClr val="black"/>
                </a:solidFill>
              </a:rPr>
              <a:t>, velg </a:t>
            </a:r>
            <a:r>
              <a:rPr lang="nb-NO" sz="1000" b="1" dirty="0" smtClean="0">
                <a:solidFill>
                  <a:prstClr val="black"/>
                </a:solidFill>
              </a:rPr>
              <a:t>«Bilde eller tekstur» </a:t>
            </a:r>
            <a:r>
              <a:rPr lang="nb-NO" sz="1000" dirty="0" smtClean="0">
                <a:solidFill>
                  <a:prstClr val="black"/>
                </a:solidFill>
              </a:rPr>
              <a:t>og deretter </a:t>
            </a:r>
            <a:r>
              <a:rPr lang="nb-NO" sz="1000" b="1" dirty="0" smtClean="0">
                <a:solidFill>
                  <a:prstClr val="black"/>
                </a:solidFill>
              </a:rPr>
              <a:t>«Fil…»</a:t>
            </a: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Velg ønsket bakgrunnsbilde og klikk </a:t>
            </a:r>
            <a:r>
              <a:rPr lang="nb-NO" sz="1000" b="1" dirty="0" smtClean="0">
                <a:solidFill>
                  <a:prstClr val="black"/>
                </a:solidFill>
              </a:rPr>
              <a:t>«Åpne»</a:t>
            </a:r>
          </a:p>
          <a:p>
            <a:pPr marL="171243" indent="-171243" defTabSz="913361">
              <a:buFontTx/>
              <a:buChar char="-"/>
            </a:pPr>
            <a:r>
              <a:rPr lang="nb-NO" sz="1000" dirty="0" smtClean="0">
                <a:solidFill>
                  <a:prstClr val="black"/>
                </a:solidFill>
              </a:rPr>
              <a:t>Avslutt med å velge </a:t>
            </a:r>
            <a:r>
              <a:rPr lang="nb-NO" sz="1000" b="1" dirty="0" smtClean="0">
                <a:solidFill>
                  <a:prstClr val="black"/>
                </a:solidFill>
              </a:rPr>
              <a:t>«Lukk»</a:t>
            </a:r>
            <a:endParaRPr lang="nb-NO" sz="1000" b="1" dirty="0">
              <a:solidFill>
                <a:prstClr val="black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17736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edragsholder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52044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17" tIns="32113" rIns="64217" bIns="32113" spcCol="0" rtlCol="0" anchor="ctr"/>
          <a:lstStyle/>
          <a:p>
            <a:pPr algn="ctr" defTabSz="913361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86214" y="3074796"/>
            <a:ext cx="7373201" cy="569387"/>
          </a:xfrm>
        </p:spPr>
        <p:txBody>
          <a:bodyPr/>
          <a:lstStyle>
            <a:lvl1pPr>
              <a:defRPr>
                <a:solidFill>
                  <a:srgbClr val="BADEE4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2" hasCustomPrompt="1"/>
          </p:nvPr>
        </p:nvSpPr>
        <p:spPr>
          <a:xfrm>
            <a:off x="2269460" y="3719033"/>
            <a:ext cx="5989955" cy="324683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</a:defRPr>
            </a:lvl1pPr>
            <a:lvl2pPr marL="456691" indent="0">
              <a:buNone/>
              <a:defRPr>
                <a:solidFill>
                  <a:srgbClr val="BADEE4"/>
                </a:solidFill>
              </a:defRPr>
            </a:lvl2pPr>
            <a:lvl3pPr marL="913362" indent="0">
              <a:buNone/>
              <a:defRPr>
                <a:solidFill>
                  <a:srgbClr val="BADEE4"/>
                </a:solidFill>
              </a:defRPr>
            </a:lvl3pPr>
            <a:lvl4pPr marL="1370053" indent="0">
              <a:buNone/>
              <a:defRPr>
                <a:solidFill>
                  <a:srgbClr val="BADEE4"/>
                </a:solidFill>
              </a:defRPr>
            </a:lvl4pPr>
            <a:lvl5pPr marL="1826738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smtClean="0"/>
              <a:t>Telefon</a:t>
            </a:r>
          </a:p>
        </p:txBody>
      </p:sp>
      <p:sp>
        <p:nvSpPr>
          <p:cNvPr id="12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2272708" y="4046352"/>
            <a:ext cx="5986696" cy="3246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</a:defRPr>
            </a:lvl1pPr>
            <a:lvl2pPr marL="456691" indent="0">
              <a:buNone/>
              <a:defRPr>
                <a:solidFill>
                  <a:srgbClr val="BADEE4"/>
                </a:solidFill>
              </a:defRPr>
            </a:lvl2pPr>
            <a:lvl3pPr marL="913362" indent="0">
              <a:buNone/>
              <a:defRPr>
                <a:solidFill>
                  <a:srgbClr val="BADEE4"/>
                </a:solidFill>
              </a:defRPr>
            </a:lvl3pPr>
            <a:lvl4pPr marL="1370053" indent="0">
              <a:buNone/>
              <a:defRPr>
                <a:solidFill>
                  <a:srgbClr val="BADEE4"/>
                </a:solidFill>
              </a:defRPr>
            </a:lvl4pPr>
            <a:lvl5pPr marL="1826738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smtClean="0"/>
              <a:t>E-post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2269460" y="4373408"/>
            <a:ext cx="5989955" cy="324683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</a:defRPr>
            </a:lvl1pPr>
            <a:lvl2pPr marL="456691" indent="0">
              <a:buNone/>
              <a:defRPr>
                <a:solidFill>
                  <a:srgbClr val="BADEE4"/>
                </a:solidFill>
              </a:defRPr>
            </a:lvl2pPr>
            <a:lvl3pPr marL="913362" indent="0">
              <a:buNone/>
              <a:defRPr>
                <a:solidFill>
                  <a:srgbClr val="BADEE4"/>
                </a:solidFill>
              </a:defRPr>
            </a:lvl3pPr>
            <a:lvl4pPr marL="1370053" indent="0">
              <a:buNone/>
              <a:defRPr>
                <a:solidFill>
                  <a:srgbClr val="BADEE4"/>
                </a:solidFill>
              </a:defRPr>
            </a:lvl4pPr>
            <a:lvl5pPr marL="1826738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err="1" smtClean="0"/>
              <a:t>Twitter</a:t>
            </a:r>
            <a:endParaRPr lang="nb-NO" dirty="0" smtClean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" y="0"/>
            <a:ext cx="2389435" cy="2444294"/>
          </a:xfrm>
          <a:prstGeom prst="rect">
            <a:avLst/>
          </a:prstGeom>
        </p:spPr>
      </p:pic>
      <p:sp>
        <p:nvSpPr>
          <p:cNvPr id="10" name="Plassholder f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886214" y="3719034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</a:defRPr>
            </a:lvl1pPr>
          </a:lstStyle>
          <a:p>
            <a:r>
              <a:rPr lang="nb-NO" dirty="0" smtClean="0">
                <a:solidFill>
                  <a:srgbClr val="BADEE4"/>
                </a:solidFill>
              </a:rPr>
              <a:t>T.</a:t>
            </a:r>
            <a:endParaRPr lang="nb-NO" dirty="0"/>
          </a:p>
        </p:txBody>
      </p:sp>
      <p:sp>
        <p:nvSpPr>
          <p:cNvPr id="20" name="Plassholder f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886214" y="4061065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</a:defRPr>
            </a:lvl1pPr>
          </a:lstStyle>
          <a:p>
            <a:r>
              <a:rPr lang="nb-NO" dirty="0" smtClean="0">
                <a:solidFill>
                  <a:srgbClr val="BADEE4"/>
                </a:solidFill>
              </a:rPr>
              <a:t>E.</a:t>
            </a:r>
            <a:endParaRPr lang="nb-NO" dirty="0"/>
          </a:p>
        </p:txBody>
      </p:sp>
      <p:sp>
        <p:nvSpPr>
          <p:cNvPr id="21" name="Plassholder f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886214" y="4394542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</a:defRPr>
            </a:lvl1pPr>
          </a:lstStyle>
          <a:p>
            <a:r>
              <a:rPr lang="nb-NO" dirty="0" err="1" smtClean="0">
                <a:solidFill>
                  <a:srgbClr val="BADEE4"/>
                </a:solidFill>
              </a:rPr>
              <a:t>Twitter</a:t>
            </a:r>
            <a:r>
              <a:rPr lang="nb-NO" dirty="0" smtClean="0">
                <a:solidFill>
                  <a:srgbClr val="BADEE4"/>
                </a:solidFill>
              </a:rPr>
              <a:t>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68574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8897252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/>
          </a:p>
        </p:txBody>
      </p:sp>
      <p:sp>
        <p:nvSpPr>
          <p:cNvPr id="8" name="Rektangel 7"/>
          <p:cNvSpPr/>
          <p:nvPr userDrawn="1"/>
        </p:nvSpPr>
        <p:spPr>
          <a:xfrm>
            <a:off x="455764" y="430466"/>
            <a:ext cx="8254340" cy="59860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/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6" y="3092893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ADEE4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07625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tnings/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4591955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17" tIns="32113" rIns="64217" bIns="32113" spcCol="0" rtlCol="0" anchor="ctr"/>
          <a:lstStyle/>
          <a:p>
            <a:pPr algn="ctr" defTabSz="913361"/>
            <a:endParaRPr lang="nb-NO">
              <a:solidFill>
                <a:prstClr val="white"/>
              </a:solidFill>
            </a:endParaRP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504910" cy="3712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3811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tel, teks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3906" y="274712"/>
            <a:ext cx="8497776" cy="569387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sz="half" idx="1"/>
          </p:nvPr>
        </p:nvSpPr>
        <p:spPr>
          <a:xfrm>
            <a:off x="323906" y="1600582"/>
            <a:ext cx="4172675" cy="4134807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9018" y="1600582"/>
            <a:ext cx="4172675" cy="4134807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0"/>
          </p:nvPr>
        </p:nvSpPr>
        <p:spPr>
          <a:xfrm>
            <a:off x="2411844" y="6378835"/>
            <a:ext cx="4321925" cy="1231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1"/>
          </p:nvPr>
        </p:nvSpPr>
        <p:spPr>
          <a:xfrm>
            <a:off x="8389818" y="5301891"/>
            <a:ext cx="476333" cy="1231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AE11C8-7B2B-4CAA-B021-3FC338D35A2F}" type="slidenum">
              <a:rPr lang="nb-NO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2"/>
          </p:nvPr>
        </p:nvSpPr>
        <p:spPr>
          <a:xfrm>
            <a:off x="7813456" y="6066397"/>
            <a:ext cx="1008237" cy="246221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endParaRPr lang="nb-NO">
              <a:solidFill>
                <a:prstClr val="black"/>
              </a:solidFill>
            </a:endParaRPr>
          </a:p>
          <a:p>
            <a:pPr>
              <a:defRPr/>
            </a:pPr>
            <a:fld id="{8F437569-C361-48CC-B058-356B0EEB4987}" type="datetime1">
              <a:rPr lang="nb-NO">
                <a:solidFill>
                  <a:prstClr val="black"/>
                </a:solidFill>
              </a:rPr>
              <a:pPr>
                <a:defRPr/>
              </a:pPr>
              <a:t>07.12.2015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55106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AFD46-7D8B-43F5-B5CC-2C42EFA65ACD}" type="datetimeFigureOut">
              <a:rPr lang="de-CH" smtClean="0">
                <a:solidFill>
                  <a:prstClr val="black"/>
                </a:solidFill>
              </a:rPr>
              <a:pPr/>
              <a:t>07.12.2015</a:t>
            </a:fld>
            <a:endParaRPr lang="de-CH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E37F4-8F77-4F23-9E8B-CDCFCDE1E699}" type="slidenum">
              <a:rPr lang="de-CH" smtClean="0">
                <a:solidFill>
                  <a:prstClr val="black"/>
                </a:solidFill>
              </a:rPr>
              <a:pPr/>
              <a:t>‹#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67732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9788919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/>
          </a:p>
        </p:txBody>
      </p:sp>
      <p:sp>
        <p:nvSpPr>
          <p:cNvPr id="8" name="Rektangel 7"/>
          <p:cNvSpPr/>
          <p:nvPr userDrawn="1"/>
        </p:nvSpPr>
        <p:spPr>
          <a:xfrm>
            <a:off x="455764" y="430466"/>
            <a:ext cx="8254340" cy="5986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/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6" y="3092893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9DABB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512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21" Type="http://schemas.openxmlformats.org/officeDocument/2006/relationships/oleObject" Target="../embeddings/oleObject13.bin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vmlDrawing" Target="../drawings/vmlDrawing13.v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vmlDrawing" Target="../drawings/vmlDrawing25.v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oleObject" Target="../embeddings/oleObject25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tags" Target="../tags/tag26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vmlDrawing" Target="../drawings/vmlDrawing37.vml"/><Relationship Id="rId3" Type="http://schemas.openxmlformats.org/officeDocument/2006/relationships/slideLayout" Target="../slideLayouts/slideLayout52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oleObject" Target="../embeddings/oleObject37.bin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19" Type="http://schemas.openxmlformats.org/officeDocument/2006/relationships/tags" Target="../tags/tag3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68.xml"/><Relationship Id="rId21" Type="http://schemas.openxmlformats.org/officeDocument/2006/relationships/oleObject" Target="../embeddings/oleObject49.bin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tags" Target="../tags/tag50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19" Type="http://schemas.openxmlformats.org/officeDocument/2006/relationships/vmlDrawing" Target="../drawings/vmlDrawing49.v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75351379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6" name="think-cell Slide" r:id="rId20" imgW="6350000" imgH="6350000" progId="">
                  <p:embed/>
                </p:oleObj>
              </mc:Choice>
              <mc:Fallback>
                <p:oleObj name="think-cell Slide" r:id="rId20" imgW="6350000" imgH="635000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/>
          <p:cNvSpPr/>
          <p:nvPr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/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86206" y="507706"/>
            <a:ext cx="7373201" cy="56938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86206" y="1600576"/>
            <a:ext cx="7373201" cy="45270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86202" y="6478874"/>
            <a:ext cx="133183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1CB97A8-B4AF-4706-9C51-65EA3D4FF4CA}" type="datetime1">
              <a:rPr lang="nb-NO" smtClean="0"/>
              <a:pPr/>
              <a:t>07.12.2015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218040" y="6478874"/>
            <a:ext cx="422696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11" name="TekstSylinder 10"/>
          <p:cNvSpPr txBox="1"/>
          <p:nvPr/>
        </p:nvSpPr>
        <p:spPr>
          <a:xfrm>
            <a:off x="6012954" y="6474717"/>
            <a:ext cx="224645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b-NO" sz="800" b="1" dirty="0" smtClean="0"/>
              <a:t>Norwegian Meteorological Institute</a:t>
            </a:r>
            <a:endParaRPr lang="nb-NO" sz="800" b="1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7" r:id="rId3"/>
    <p:sldLayoutId id="2147483650" r:id="rId4"/>
    <p:sldLayoutId id="2147483663" r:id="rId5"/>
    <p:sldLayoutId id="2147483652" r:id="rId6"/>
    <p:sldLayoutId id="2147483654" r:id="rId7"/>
    <p:sldLayoutId id="2147483651" r:id="rId8"/>
    <p:sldLayoutId id="2147483660" r:id="rId9"/>
    <p:sldLayoutId id="2147483661" r:id="rId10"/>
    <p:sldLayoutId id="2147483662" r:id="rId11"/>
    <p:sldLayoutId id="2147483665" r:id="rId12"/>
    <p:sldLayoutId id="2147483666" r:id="rId13"/>
    <p:sldLayoutId id="2147483664" r:id="rId14"/>
    <p:sldLayoutId id="2147483658" r:id="rId15"/>
    <p:sldLayoutId id="2147483668" r:id="rId16"/>
  </p:sldLayoutIdLst>
  <p:hf hdr="0"/>
  <p:txStyles>
    <p:titleStyle>
      <a:lvl1pPr algn="l" defTabSz="914097" rtl="0" eaLnBrk="1" latinLnBrk="0" hangingPunct="1">
        <a:spcBef>
          <a:spcPct val="0"/>
        </a:spcBef>
        <a:buNone/>
        <a:defRPr sz="37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6351" indent="-186351" algn="l" defTabSz="914097" rtl="0" eaLnBrk="1" latinLnBrk="0" hangingPunct="1">
        <a:spcBef>
          <a:spcPct val="20000"/>
        </a:spcBef>
        <a:buSzPct val="100000"/>
        <a:buFont typeface="Arial" pitchFamily="34" charset="0"/>
        <a:buChar char="·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703" indent="-285658" algn="l" defTabSz="914097" rtl="0" eaLnBrk="1" latinLnBrk="0" hangingPunct="1">
        <a:spcBef>
          <a:spcPct val="20000"/>
        </a:spcBef>
        <a:buClr>
          <a:schemeClr val="tx2"/>
        </a:buClr>
        <a:buFont typeface="Calibri" pitchFamily="34" charset="0"/>
        <a:buChar char="-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622" indent="-228524" algn="l" defTabSz="914097" rtl="0" eaLnBrk="1" latinLnBrk="0" hangingPunct="1">
        <a:spcBef>
          <a:spcPct val="20000"/>
        </a:spcBef>
        <a:buFont typeface="Arial" pitchFamily="34" charset="0"/>
        <a:buChar char="·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673" indent="-228524" algn="l" defTabSz="914097" rtl="0" eaLnBrk="1" latinLnBrk="0" hangingPunct="1">
        <a:spcBef>
          <a:spcPct val="20000"/>
        </a:spcBef>
        <a:buClr>
          <a:schemeClr val="tx2"/>
        </a:buClr>
        <a:buFont typeface="Calibri" pitchFamily="34" charset="0"/>
        <a:buChar char="-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25" indent="-228524" algn="l" defTabSz="914097" rtl="0" eaLnBrk="1" latinLnBrk="0" hangingPunct="1">
        <a:spcBef>
          <a:spcPct val="20000"/>
        </a:spcBef>
        <a:buClr>
          <a:schemeClr val="tx2"/>
        </a:buClr>
        <a:buFont typeface="Calibri" pitchFamily="34" charset="0"/>
        <a:buChar char="-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771" indent="-228524" algn="l" defTabSz="9140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24" indent="-228524" algn="l" defTabSz="9140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72" indent="-228524" algn="l" defTabSz="9140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22" indent="-228524" algn="l" defTabSz="9140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97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0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98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50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96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48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99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62317275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9" name="think-cell Slide" r:id="rId21" imgW="6350000" imgH="6350000" progId="">
                  <p:embed/>
                </p:oleObj>
              </mc:Choice>
              <mc:Fallback>
                <p:oleObj name="think-cell Slide" r:id="rId21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/>
          <p:cNvSpPr/>
          <p:nvPr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86206" y="507706"/>
            <a:ext cx="7373201" cy="56938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86206" y="1600576"/>
            <a:ext cx="7373201" cy="45270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86202" y="6478874"/>
            <a:ext cx="133183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1CB97A8-B4AF-4706-9C51-65EA3D4FF4CA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218040" y="6478874"/>
            <a:ext cx="422696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 dirty="0" smtClean="0">
                <a:solidFill>
                  <a:prstClr val="black"/>
                </a:solidFill>
              </a:rPr>
              <a:t>Bunntekst</a:t>
            </a:r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1" name="TekstSylinder 10"/>
          <p:cNvSpPr txBox="1"/>
          <p:nvPr/>
        </p:nvSpPr>
        <p:spPr>
          <a:xfrm>
            <a:off x="6012954" y="6474717"/>
            <a:ext cx="224645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b-NO" sz="800" b="1" dirty="0" smtClean="0">
                <a:solidFill>
                  <a:prstClr val="black"/>
                </a:solidFill>
              </a:rPr>
              <a:t>Norwegian Meteorological Institute</a:t>
            </a:r>
            <a:endParaRPr lang="nb-NO" sz="800" b="1" dirty="0">
              <a:solidFill>
                <a:prstClr val="black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5986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hf hdr="0"/>
  <p:txStyles>
    <p:titleStyle>
      <a:lvl1pPr algn="l" defTabSz="914097" rtl="0" eaLnBrk="1" latinLnBrk="0" hangingPunct="1">
        <a:spcBef>
          <a:spcPct val="0"/>
        </a:spcBef>
        <a:buNone/>
        <a:defRPr sz="37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6351" indent="-186351" algn="l" defTabSz="914097" rtl="0" eaLnBrk="1" latinLnBrk="0" hangingPunct="1">
        <a:spcBef>
          <a:spcPct val="20000"/>
        </a:spcBef>
        <a:buSzPct val="100000"/>
        <a:buFont typeface="Arial" pitchFamily="34" charset="0"/>
        <a:buChar char="·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703" indent="-285658" algn="l" defTabSz="914097" rtl="0" eaLnBrk="1" latinLnBrk="0" hangingPunct="1">
        <a:spcBef>
          <a:spcPct val="20000"/>
        </a:spcBef>
        <a:buClr>
          <a:schemeClr val="tx2"/>
        </a:buClr>
        <a:buFont typeface="Calibri" pitchFamily="34" charset="0"/>
        <a:buChar char="-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622" indent="-228524" algn="l" defTabSz="914097" rtl="0" eaLnBrk="1" latinLnBrk="0" hangingPunct="1">
        <a:spcBef>
          <a:spcPct val="20000"/>
        </a:spcBef>
        <a:buFont typeface="Arial" pitchFamily="34" charset="0"/>
        <a:buChar char="·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673" indent="-228524" algn="l" defTabSz="914097" rtl="0" eaLnBrk="1" latinLnBrk="0" hangingPunct="1">
        <a:spcBef>
          <a:spcPct val="20000"/>
        </a:spcBef>
        <a:buClr>
          <a:schemeClr val="tx2"/>
        </a:buClr>
        <a:buFont typeface="Calibri" pitchFamily="34" charset="0"/>
        <a:buChar char="-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25" indent="-228524" algn="l" defTabSz="914097" rtl="0" eaLnBrk="1" latinLnBrk="0" hangingPunct="1">
        <a:spcBef>
          <a:spcPct val="20000"/>
        </a:spcBef>
        <a:buClr>
          <a:schemeClr val="tx2"/>
        </a:buClr>
        <a:buFont typeface="Calibri" pitchFamily="34" charset="0"/>
        <a:buChar char="-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771" indent="-228524" algn="l" defTabSz="9140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24" indent="-228524" algn="l" defTabSz="9140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72" indent="-228524" algn="l" defTabSz="9140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22" indent="-228524" algn="l" defTabSz="9140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97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0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98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50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96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48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99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583399855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6" name="think-cell Slide" r:id="rId20" imgW="6350000" imgH="6350000" progId="">
                  <p:embed/>
                </p:oleObj>
              </mc:Choice>
              <mc:Fallback>
                <p:oleObj name="think-cell Slide" r:id="rId20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/>
          <p:cNvSpPr/>
          <p:nvPr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86206" y="507706"/>
            <a:ext cx="7373201" cy="56938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86206" y="1600576"/>
            <a:ext cx="7373201" cy="45270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86202" y="6478874"/>
            <a:ext cx="133183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1CB97A8-B4AF-4706-9C51-65EA3D4FF4CA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218040" y="6478874"/>
            <a:ext cx="422696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 dirty="0" smtClean="0">
                <a:solidFill>
                  <a:prstClr val="black"/>
                </a:solidFill>
              </a:rPr>
              <a:t>Bunntekst</a:t>
            </a:r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1" name="TekstSylinder 10"/>
          <p:cNvSpPr txBox="1"/>
          <p:nvPr/>
        </p:nvSpPr>
        <p:spPr>
          <a:xfrm>
            <a:off x="6012954" y="6474717"/>
            <a:ext cx="224645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b-NO" sz="800" b="1" dirty="0" smtClean="0">
                <a:solidFill>
                  <a:prstClr val="black"/>
                </a:solidFill>
              </a:rPr>
              <a:t>Norwegian Meteorological Institute</a:t>
            </a:r>
            <a:endParaRPr lang="nb-NO" sz="800" b="1" dirty="0">
              <a:solidFill>
                <a:prstClr val="black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439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</p:sldLayoutIdLst>
  <p:hf hdr="0"/>
  <p:txStyles>
    <p:titleStyle>
      <a:lvl1pPr algn="l" defTabSz="914097" rtl="0" eaLnBrk="1" latinLnBrk="0" hangingPunct="1">
        <a:spcBef>
          <a:spcPct val="0"/>
        </a:spcBef>
        <a:buNone/>
        <a:defRPr sz="37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6351" indent="-186351" algn="l" defTabSz="914097" rtl="0" eaLnBrk="1" latinLnBrk="0" hangingPunct="1">
        <a:spcBef>
          <a:spcPct val="20000"/>
        </a:spcBef>
        <a:buSzPct val="100000"/>
        <a:buFont typeface="Arial" pitchFamily="34" charset="0"/>
        <a:buChar char="·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703" indent="-285658" algn="l" defTabSz="914097" rtl="0" eaLnBrk="1" latinLnBrk="0" hangingPunct="1">
        <a:spcBef>
          <a:spcPct val="20000"/>
        </a:spcBef>
        <a:buClr>
          <a:schemeClr val="tx2"/>
        </a:buClr>
        <a:buFont typeface="Calibri" pitchFamily="34" charset="0"/>
        <a:buChar char="-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622" indent="-228524" algn="l" defTabSz="914097" rtl="0" eaLnBrk="1" latinLnBrk="0" hangingPunct="1">
        <a:spcBef>
          <a:spcPct val="20000"/>
        </a:spcBef>
        <a:buFont typeface="Arial" pitchFamily="34" charset="0"/>
        <a:buChar char="·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673" indent="-228524" algn="l" defTabSz="914097" rtl="0" eaLnBrk="1" latinLnBrk="0" hangingPunct="1">
        <a:spcBef>
          <a:spcPct val="20000"/>
        </a:spcBef>
        <a:buClr>
          <a:schemeClr val="tx2"/>
        </a:buClr>
        <a:buFont typeface="Calibri" pitchFamily="34" charset="0"/>
        <a:buChar char="-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25" indent="-228524" algn="l" defTabSz="914097" rtl="0" eaLnBrk="1" latinLnBrk="0" hangingPunct="1">
        <a:spcBef>
          <a:spcPct val="20000"/>
        </a:spcBef>
        <a:buClr>
          <a:schemeClr val="tx2"/>
        </a:buClr>
        <a:buFont typeface="Calibri" pitchFamily="34" charset="0"/>
        <a:buChar char="-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771" indent="-228524" algn="l" defTabSz="9140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24" indent="-228524" algn="l" defTabSz="9140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72" indent="-228524" algn="l" defTabSz="9140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22" indent="-228524" algn="l" defTabSz="9140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97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0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98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50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96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48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99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976733317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9" name="think-cell Slide" r:id="rId20" imgW="352" imgH="357" progId="TCLayout.ActiveDocument.1">
                  <p:embed/>
                </p:oleObj>
              </mc:Choice>
              <mc:Fallback>
                <p:oleObj name="think-cell Slide" r:id="rId20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/>
          <p:cNvSpPr/>
          <p:nvPr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73" tIns="32137" rIns="64273" bIns="32137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86206" y="507706"/>
            <a:ext cx="7373201" cy="56938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86206" y="1600576"/>
            <a:ext cx="7373201" cy="45270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86202" y="6478874"/>
            <a:ext cx="133183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1CB97A8-B4AF-4706-9C51-65EA3D4FF4CA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218040" y="6478874"/>
            <a:ext cx="468417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 dirty="0" smtClean="0">
                <a:solidFill>
                  <a:prstClr val="black"/>
                </a:solidFill>
              </a:rPr>
              <a:t>Bunntekst</a:t>
            </a:r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1" name="TekstSylinder 10"/>
          <p:cNvSpPr txBox="1"/>
          <p:nvPr/>
        </p:nvSpPr>
        <p:spPr>
          <a:xfrm>
            <a:off x="6902208" y="6474717"/>
            <a:ext cx="13571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b-NO" sz="800" b="1" dirty="0" smtClean="0">
                <a:solidFill>
                  <a:prstClr val="black"/>
                </a:solidFill>
              </a:rPr>
              <a:t>Meteorologisk institutt</a:t>
            </a:r>
            <a:endParaRPr lang="nb-NO" sz="800" b="1" dirty="0">
              <a:solidFill>
                <a:prstClr val="black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9455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</p:sldLayoutIdLst>
  <p:hf hdr="0"/>
  <p:txStyles>
    <p:titleStyle>
      <a:lvl1pPr algn="l" defTabSz="914097" rtl="0" eaLnBrk="1" latinLnBrk="0" hangingPunct="1">
        <a:spcBef>
          <a:spcPct val="0"/>
        </a:spcBef>
        <a:buNone/>
        <a:defRPr sz="37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6351" indent="-186351" algn="l" defTabSz="914097" rtl="0" eaLnBrk="1" latinLnBrk="0" hangingPunct="1">
        <a:spcBef>
          <a:spcPct val="20000"/>
        </a:spcBef>
        <a:buSzPct val="100000"/>
        <a:buFont typeface="Arial" pitchFamily="34" charset="0"/>
        <a:buChar char="·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703" indent="-285658" algn="l" defTabSz="914097" rtl="0" eaLnBrk="1" latinLnBrk="0" hangingPunct="1">
        <a:spcBef>
          <a:spcPct val="20000"/>
        </a:spcBef>
        <a:buClr>
          <a:schemeClr val="tx2"/>
        </a:buClr>
        <a:buFont typeface="Calibri" pitchFamily="34" charset="0"/>
        <a:buChar char="-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622" indent="-228524" algn="l" defTabSz="914097" rtl="0" eaLnBrk="1" latinLnBrk="0" hangingPunct="1">
        <a:spcBef>
          <a:spcPct val="20000"/>
        </a:spcBef>
        <a:buFont typeface="Arial" pitchFamily="34" charset="0"/>
        <a:buChar char="·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673" indent="-228524" algn="l" defTabSz="914097" rtl="0" eaLnBrk="1" latinLnBrk="0" hangingPunct="1">
        <a:spcBef>
          <a:spcPct val="20000"/>
        </a:spcBef>
        <a:buClr>
          <a:schemeClr val="tx2"/>
        </a:buClr>
        <a:buFont typeface="Calibri" pitchFamily="34" charset="0"/>
        <a:buChar char="-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25" indent="-228524" algn="l" defTabSz="914097" rtl="0" eaLnBrk="1" latinLnBrk="0" hangingPunct="1">
        <a:spcBef>
          <a:spcPct val="20000"/>
        </a:spcBef>
        <a:buClr>
          <a:schemeClr val="tx2"/>
        </a:buClr>
        <a:buFont typeface="Calibri" pitchFamily="34" charset="0"/>
        <a:buChar char="-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771" indent="-228524" algn="l" defTabSz="9140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24" indent="-228524" algn="l" defTabSz="9140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72" indent="-228524" algn="l" defTabSz="9140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22" indent="-228524" algn="l" defTabSz="9140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97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0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98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50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96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48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99" algn="l" defTabSz="9140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539590441"/>
              </p:ext>
            </p:extLst>
          </p:nvPr>
        </p:nvGraphicFramePr>
        <p:xfrm>
          <a:off x="1599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7" name="think-cell Slide" r:id="rId21" imgW="6350000" imgH="6350000" progId="">
                  <p:embed/>
                </p:oleObj>
              </mc:Choice>
              <mc:Fallback>
                <p:oleObj name="think-cell Slide" r:id="rId21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59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/>
          <p:cNvSpPr/>
          <p:nvPr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17" tIns="32113" rIns="64217" bIns="32113" spcCol="0" rtlCol="0" anchor="ctr"/>
          <a:lstStyle/>
          <a:p>
            <a:pPr algn="ctr" defTabSz="913361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86214" y="507714"/>
            <a:ext cx="7373201" cy="56938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86214" y="1600584"/>
            <a:ext cx="7373201" cy="45270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86202" y="6478882"/>
            <a:ext cx="133183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defTabSz="913361"/>
            <a:fld id="{E1CB97A8-B4AF-4706-9C51-65EA3D4FF4CA}" type="datetime1">
              <a:rPr lang="nb-NO" smtClean="0">
                <a:solidFill>
                  <a:prstClr val="black"/>
                </a:solidFill>
              </a:rPr>
              <a:pPr defTabSz="913361"/>
              <a:t>07.12.2015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218048" y="6478882"/>
            <a:ext cx="422696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defTabSz="913361"/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1" name="TekstSylinder 10"/>
          <p:cNvSpPr txBox="1"/>
          <p:nvPr/>
        </p:nvSpPr>
        <p:spPr>
          <a:xfrm>
            <a:off x="6012954" y="6474725"/>
            <a:ext cx="224645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3361"/>
            <a:r>
              <a:rPr lang="nb-NO" sz="800" b="1" dirty="0" smtClean="0">
                <a:solidFill>
                  <a:prstClr val="black"/>
                </a:solidFill>
              </a:rPr>
              <a:t>Norwegian Meteorological Institute</a:t>
            </a:r>
            <a:endParaRPr lang="nb-NO" sz="800" b="1" dirty="0">
              <a:solidFill>
                <a:prstClr val="black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defTabSz="913361"/>
            <a:fld id="{D5ED987E-C9A5-4BD9-B8B4-14FB34A4F616}" type="slidenum">
              <a:rPr lang="nb-NO" smtClean="0">
                <a:solidFill>
                  <a:prstClr val="black"/>
                </a:solidFill>
              </a:rPr>
              <a:pPr defTabSz="913361"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078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</p:sldLayoutIdLst>
  <p:hf hdr="0"/>
  <p:txStyles>
    <p:titleStyle>
      <a:lvl1pPr algn="l" defTabSz="913361" rtl="0" eaLnBrk="1" latinLnBrk="0" hangingPunct="1">
        <a:spcBef>
          <a:spcPct val="0"/>
        </a:spcBef>
        <a:buNone/>
        <a:defRPr sz="37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6207" indent="-186207" algn="l" defTabSz="913361" rtl="0" eaLnBrk="1" latinLnBrk="0" hangingPunct="1">
        <a:spcBef>
          <a:spcPct val="20000"/>
        </a:spcBef>
        <a:buSzPct val="100000"/>
        <a:buFont typeface="Arial" pitchFamily="34" charset="0"/>
        <a:buChar char="·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108" indent="-285434" algn="l" defTabSz="913361" rtl="0" eaLnBrk="1" latinLnBrk="0" hangingPunct="1">
        <a:spcBef>
          <a:spcPct val="20000"/>
        </a:spcBef>
        <a:buClr>
          <a:schemeClr val="tx2"/>
        </a:buClr>
        <a:buFont typeface="Calibri" pitchFamily="34" charset="0"/>
        <a:buChar char="-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708" indent="-228340" algn="l" defTabSz="913361" rtl="0" eaLnBrk="1" latinLnBrk="0" hangingPunct="1">
        <a:spcBef>
          <a:spcPct val="20000"/>
        </a:spcBef>
        <a:buFont typeface="Arial" pitchFamily="34" charset="0"/>
        <a:buChar char="·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393" indent="-228340" algn="l" defTabSz="913361" rtl="0" eaLnBrk="1" latinLnBrk="0" hangingPunct="1">
        <a:spcBef>
          <a:spcPct val="20000"/>
        </a:spcBef>
        <a:buClr>
          <a:schemeClr val="tx2"/>
        </a:buClr>
        <a:buFont typeface="Calibri" pitchFamily="34" charset="0"/>
        <a:buChar char="-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084" indent="-228340" algn="l" defTabSz="913361" rtl="0" eaLnBrk="1" latinLnBrk="0" hangingPunct="1">
        <a:spcBef>
          <a:spcPct val="20000"/>
        </a:spcBef>
        <a:buClr>
          <a:schemeClr val="tx2"/>
        </a:buClr>
        <a:buFont typeface="Calibri" pitchFamily="34" charset="0"/>
        <a:buChar char="-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1757" indent="-228340" algn="l" defTabSz="91336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448" indent="-228340" algn="l" defTabSz="91336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133" indent="-228340" algn="l" defTabSz="91336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811" indent="-228340" algn="l" defTabSz="91336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3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92" algn="l" defTabSz="913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61" algn="l" defTabSz="913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54" algn="l" defTabSz="913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738" algn="l" defTabSz="913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418" algn="l" defTabSz="913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104" algn="l" defTabSz="913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790" algn="l" defTabSz="913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473" algn="l" defTabSz="913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3.jpe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jpe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png"/><Relationship Id="rId10" Type="http://schemas.openxmlformats.org/officeDocument/2006/relationships/image" Target="../media/image63.jpeg"/><Relationship Id="rId4" Type="http://schemas.openxmlformats.org/officeDocument/2006/relationships/image" Target="../media/image57.jpeg"/><Relationship Id="rId9" Type="http://schemas.openxmlformats.org/officeDocument/2006/relationships/image" Target="../media/image6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68.jpeg"/><Relationship Id="rId4" Type="http://schemas.openxmlformats.org/officeDocument/2006/relationships/image" Target="../media/image6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0.xml"/><Relationship Id="rId5" Type="http://schemas.openxmlformats.org/officeDocument/2006/relationships/hyperlink" Target="http://klimaservicesenter.no/" TargetMode="External"/><Relationship Id="rId4" Type="http://schemas.openxmlformats.org/officeDocument/2006/relationships/image" Target="../media/image71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7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7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wmf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8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t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emf"/><Relationship Id="rId2" Type="http://schemas.openxmlformats.org/officeDocument/2006/relationships/image" Target="../media/image81.emf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0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emf"/><Relationship Id="rId2" Type="http://schemas.openxmlformats.org/officeDocument/2006/relationships/image" Target="../media/image83.emf"/><Relationship Id="rId1" Type="http://schemas.openxmlformats.org/officeDocument/2006/relationships/slideLayout" Target="../slideLayouts/slideLayout3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2" Type="http://schemas.openxmlformats.org/officeDocument/2006/relationships/image" Target="../media/image85.emf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88.emf"/><Relationship Id="rId4" Type="http://schemas.openxmlformats.org/officeDocument/2006/relationships/image" Target="../media/image87.e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emf"/><Relationship Id="rId2" Type="http://schemas.openxmlformats.org/officeDocument/2006/relationships/image" Target="../media/image90.emf"/><Relationship Id="rId1" Type="http://schemas.openxmlformats.org/officeDocument/2006/relationships/slideLayout" Target="../slideLayouts/slideLayout3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93.png"/><Relationship Id="rId7" Type="http://schemas.openxmlformats.org/officeDocument/2006/relationships/image" Target="../media/image97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emf"/><Relationship Id="rId1" Type="http://schemas.openxmlformats.org/officeDocument/2006/relationships/slideLayout" Target="../slideLayouts/slideLayout3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g"/><Relationship Id="rId3" Type="http://schemas.openxmlformats.org/officeDocument/2006/relationships/image" Target="../media/image23.jpe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6.png"/><Relationship Id="rId5" Type="http://schemas.openxmlformats.org/officeDocument/2006/relationships/image" Target="../media/image25.jpeg"/><Relationship Id="rId4" Type="http://schemas.openxmlformats.org/officeDocument/2006/relationships/image" Target="../media/image24.jpeg"/><Relationship Id="rId9" Type="http://schemas.openxmlformats.org/officeDocument/2006/relationships/image" Target="../media/image29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3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jpeg"/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jpeg"/><Relationship Id="rId9" Type="http://schemas.openxmlformats.org/officeDocument/2006/relationships/image" Target="../media/image4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3"/>
          <p:cNvSpPr txBox="1">
            <a:spLocks/>
          </p:cNvSpPr>
          <p:nvPr/>
        </p:nvSpPr>
        <p:spPr>
          <a:xfrm>
            <a:off x="366401" y="6491159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50" tIns="45681" rIns="91350" bIns="45681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 smtClean="0">
                <a:solidFill>
                  <a:prstClr val="white"/>
                </a:solidFill>
                <a:cs typeface="Arial" panose="020B0604020202020204" pitchFamily="34" charset="0"/>
              </a:rPr>
              <a:t>Norwegian Centre for </a:t>
            </a:r>
            <a:r>
              <a:rPr lang="nb-NO" sz="1400" dirty="0" err="1" smtClean="0">
                <a:solidFill>
                  <a:prstClr val="white"/>
                </a:solidFill>
                <a:cs typeface="Arial" panose="020B0604020202020204" pitchFamily="34" charset="0"/>
              </a:rPr>
              <a:t>Climate</a:t>
            </a:r>
            <a:r>
              <a:rPr lang="nb-NO" sz="1400" dirty="0" smtClean="0">
                <a:solidFill>
                  <a:prstClr val="white"/>
                </a:solidFill>
                <a:cs typeface="Arial" panose="020B0604020202020204" pitchFamily="34" charset="0"/>
              </a:rPr>
              <a:t> Services  (NCCS)</a:t>
            </a:r>
            <a:endParaRPr lang="nb-NO" sz="14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9" name="Tittel 6"/>
          <p:cNvSpPr>
            <a:spLocks noGrp="1"/>
          </p:cNvSpPr>
          <p:nvPr>
            <p:ph type="ctrTitle"/>
          </p:nvPr>
        </p:nvSpPr>
        <p:spPr>
          <a:xfrm>
            <a:off x="684362" y="3285778"/>
            <a:ext cx="7704856" cy="1400383"/>
          </a:xfrm>
        </p:spPr>
        <p:txBody>
          <a:bodyPr/>
          <a:lstStyle/>
          <a:p>
            <a:pPr algn="ctr"/>
            <a:r>
              <a:rPr lang="en-GB" dirty="0" smtClean="0"/>
              <a:t>Preparing for a future climate:</a:t>
            </a:r>
            <a:br>
              <a:rPr lang="en-GB" dirty="0" smtClean="0"/>
            </a:br>
            <a:r>
              <a:rPr lang="en-GB" sz="2600" dirty="0"/>
              <a:t>Tailored climate products disseminated </a:t>
            </a:r>
            <a:r>
              <a:rPr lang="en-GB" sz="2600" dirty="0" smtClean="0"/>
              <a:t>through</a:t>
            </a:r>
            <a:r>
              <a:rPr lang="en-GB" sz="2700" dirty="0" smtClean="0"/>
              <a:t/>
            </a:r>
            <a:br>
              <a:rPr lang="en-GB" sz="2700" dirty="0" smtClean="0"/>
            </a:br>
            <a:r>
              <a:rPr lang="en-GB" sz="2800" dirty="0" smtClean="0"/>
              <a:t>The </a:t>
            </a:r>
            <a:r>
              <a:rPr lang="en-GB" sz="2800" dirty="0"/>
              <a:t>Norwegian Centre for Climate Services </a:t>
            </a:r>
          </a:p>
        </p:txBody>
      </p:sp>
      <p:sp>
        <p:nvSpPr>
          <p:cNvPr id="4" name="Rektangel 3"/>
          <p:cNvSpPr/>
          <p:nvPr/>
        </p:nvSpPr>
        <p:spPr>
          <a:xfrm>
            <a:off x="1260426" y="5471279"/>
            <a:ext cx="712879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>
                <a:solidFill>
                  <a:schemeClr val="accent6"/>
                </a:solidFill>
              </a:rPr>
              <a:t>Eirik J. Førland, Norwegian Meteorological Institute, Oslo, Norway </a:t>
            </a:r>
          </a:p>
        </p:txBody>
      </p:sp>
      <p:sp>
        <p:nvSpPr>
          <p:cNvPr id="11" name="Rektangel 10"/>
          <p:cNvSpPr/>
          <p:nvPr/>
        </p:nvSpPr>
        <p:spPr>
          <a:xfrm>
            <a:off x="3784821" y="5979111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nb-NO" sz="1400" b="1" i="1" dirty="0" err="1"/>
              <a:t>KRIT’eR</a:t>
            </a:r>
            <a:r>
              <a:rPr lang="nb-NO" sz="1400" b="1" i="1" dirty="0"/>
              <a:t> Workshop, Budapest, 8. </a:t>
            </a:r>
            <a:r>
              <a:rPr lang="nb-NO" sz="1400" b="1" i="1" dirty="0" err="1"/>
              <a:t>December</a:t>
            </a:r>
            <a:r>
              <a:rPr lang="nb-NO" sz="1400" b="1" i="1" dirty="0"/>
              <a:t>, 2015</a:t>
            </a:r>
          </a:p>
        </p:txBody>
      </p:sp>
    </p:spTree>
    <p:extLst>
      <p:ext uri="{BB962C8B-B14F-4D97-AF65-F5344CB8AC3E}">
        <p14:creationId xmlns:p14="http://schemas.microsoft.com/office/powerpoint/2010/main" val="3577186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innhold 5"/>
          <p:cNvSpPr>
            <a:spLocks noGrp="1"/>
          </p:cNvSpPr>
          <p:nvPr>
            <p:ph idx="1"/>
          </p:nvPr>
        </p:nvSpPr>
        <p:spPr>
          <a:xfrm>
            <a:off x="460378" y="907585"/>
            <a:ext cx="5832648" cy="3974936"/>
          </a:xfrm>
        </p:spPr>
        <p:txBody>
          <a:bodyPr>
            <a:noAutofit/>
          </a:bodyPr>
          <a:lstStyle/>
          <a:p>
            <a:pPr>
              <a:tabLst>
                <a:tab pos="723681" algn="l"/>
              </a:tabLst>
              <a:defRPr/>
            </a:pPr>
            <a:r>
              <a:rPr lang="en-GB" sz="2800" dirty="0"/>
              <a:t>The engineer needs “one number”: A design value to avoid this  </a:t>
            </a:r>
            <a:r>
              <a:rPr lang="en-GB" sz="2800" dirty="0">
                <a:sym typeface="Wingdings" panose="05000000000000000000" pitchFamily="2" charset="2"/>
              </a:rPr>
              <a:t></a:t>
            </a:r>
            <a:endParaRPr lang="en-GB" sz="2800" dirty="0"/>
          </a:p>
          <a:p>
            <a:pPr>
              <a:tabLst>
                <a:tab pos="723681" algn="l"/>
              </a:tabLst>
              <a:defRPr/>
            </a:pPr>
            <a:r>
              <a:rPr lang="en-GB" sz="2800" dirty="0"/>
              <a:t>The municipality planner needs a map showing how close to a river to allow e.g. dwelling areas</a:t>
            </a:r>
          </a:p>
          <a:p>
            <a:pPr>
              <a:tabLst>
                <a:tab pos="723681" algn="l"/>
              </a:tabLst>
              <a:defRPr/>
            </a:pPr>
            <a:r>
              <a:rPr lang="en-GB" sz="2800" dirty="0"/>
              <a:t>The impact researcher may need detailed and consistent climate projections of a number of variables or indices…</a:t>
            </a:r>
          </a:p>
        </p:txBody>
      </p:sp>
      <p:sp>
        <p:nvSpPr>
          <p:cNvPr id="7" name="Plassholder for lysbildenummer 4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</p:spPr>
        <p:txBody>
          <a:bodyPr/>
          <a:lstStyle/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10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9" name="Tittel 4"/>
          <p:cNvSpPr>
            <a:spLocks noGrp="1"/>
          </p:cNvSpPr>
          <p:nvPr>
            <p:ph type="title"/>
          </p:nvPr>
        </p:nvSpPr>
        <p:spPr>
          <a:xfrm>
            <a:off x="307975" y="238401"/>
            <a:ext cx="8513291" cy="553998"/>
          </a:xfrm>
        </p:spPr>
        <p:txBody>
          <a:bodyPr/>
          <a:lstStyle/>
          <a:p>
            <a:pPr algn="ctr"/>
            <a:r>
              <a:rPr lang="en-GB" sz="3600" dirty="0"/>
              <a:t>Different users/different needs:</a:t>
            </a:r>
            <a:endParaRPr lang="en-GB" sz="1600" b="0" dirty="0"/>
          </a:p>
        </p:txBody>
      </p:sp>
      <p:sp>
        <p:nvSpPr>
          <p:cNvPr id="4" name="AutoShape 2" descr="https://imap.met.no/service/home/~/image001.png?auth=co&amp;loc=no&amp;id=40938&amp;part=2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3" tIns="45708" rIns="91413" bIns="45708" numCol="1" anchor="t" anchorCtr="0" compatLnSpc="1">
            <a:prstTxWarp prst="textNoShape">
              <a:avLst/>
            </a:prstTxWarp>
          </a:bodyPr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10" name="TekstSylinder 9"/>
          <p:cNvSpPr txBox="1"/>
          <p:nvPr/>
        </p:nvSpPr>
        <p:spPr>
          <a:xfrm>
            <a:off x="6589021" y="6166097"/>
            <a:ext cx="1872208" cy="369400"/>
          </a:xfrm>
          <a:prstGeom prst="rect">
            <a:avLst/>
          </a:prstGeom>
          <a:solidFill>
            <a:srgbClr val="E9E9E9"/>
          </a:solidFill>
        </p:spPr>
        <p:txBody>
          <a:bodyPr wrap="square" lIns="91413" tIns="45708" rIns="91413" bIns="45708" rtlCol="0">
            <a:spAutoFit/>
          </a:bodyPr>
          <a:lstStyle/>
          <a:p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7004" y="2997746"/>
            <a:ext cx="2374262" cy="198219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Picture 6" descr="OVERSVØMMELSE: Fra undergangen på Majorstua T-banestasjon. Leserfoto: SEMMING HARALDS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7006" y="1244406"/>
            <a:ext cx="2374263" cy="165064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http://reise.bt.no/migration_catalog/article34011.ece/BINARY/w980/snow+avalanche..+SCC-AIPub-A-l%C3%B8pet-stor-sn%C3%B8skred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0" r="29857"/>
          <a:stretch/>
        </p:blipFill>
        <p:spPr bwMode="auto">
          <a:xfrm>
            <a:off x="460378" y="5072673"/>
            <a:ext cx="2376263" cy="161278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4" descr="http://www.ytre-hvaler.no/271814_E7huhAXRGuc.im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8618" y="5066425"/>
            <a:ext cx="2235148" cy="162527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Foto: Colourbox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777" t="1099" r="1268" b="23410"/>
          <a:stretch/>
        </p:blipFill>
        <p:spPr bwMode="auto">
          <a:xfrm>
            <a:off x="5405246" y="5059836"/>
            <a:ext cx="2119876" cy="158844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4080656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95605" y="274701"/>
            <a:ext cx="8570440" cy="922328"/>
          </a:xfrm>
        </p:spPr>
        <p:txBody>
          <a:bodyPr>
            <a:normAutofit fontScale="90000"/>
          </a:bodyPr>
          <a:lstStyle/>
          <a:p>
            <a:r>
              <a:rPr lang="nb-NO" dirty="0" err="1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</a:t>
            </a:r>
            <a:r>
              <a:rPr lang="nb-NO" dirty="0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dirty="0" err="1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r>
              <a:rPr lang="nb-NO" dirty="0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dirty="0" err="1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nb-NO" dirty="0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re </a:t>
            </a:r>
            <a:r>
              <a:rPr lang="nb-NO" dirty="0" err="1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certain</a:t>
            </a:r>
            <a:r>
              <a:rPr lang="nb-NO" dirty="0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dirty="0" err="1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</a:t>
            </a:r>
            <a:r>
              <a:rPr lang="nb-NO" dirty="0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dirty="0" err="1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s</a:t>
            </a:r>
            <a:endParaRPr lang="nb-NO" dirty="0">
              <a:solidFill>
                <a:srgbClr val="1D69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95605" y="1378484"/>
            <a:ext cx="8570440" cy="538792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Variables:</a:t>
            </a:r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0" indent="0">
              <a:buNone/>
            </a:pPr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			          </a:t>
            </a:r>
            <a:endParaRPr lang="nb-NO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tel 3"/>
          <p:cNvSpPr txBox="1">
            <a:spLocks/>
          </p:cNvSpPr>
          <p:nvPr/>
        </p:nvSpPr>
        <p:spPr>
          <a:xfrm>
            <a:off x="39560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422" tIns="45713" rIns="91422" bIns="4571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sk klimaservicesenter </a:t>
            </a:r>
          </a:p>
        </p:txBody>
      </p:sp>
      <p:sp>
        <p:nvSpPr>
          <p:cNvPr id="11" name="Plassholder for innhold 2"/>
          <p:cNvSpPr txBox="1">
            <a:spLocks/>
          </p:cNvSpPr>
          <p:nvPr/>
        </p:nvSpPr>
        <p:spPr>
          <a:xfrm>
            <a:off x="395605" y="3069674"/>
            <a:ext cx="5699966" cy="576197"/>
          </a:xfrm>
          <a:prstGeom prst="rect">
            <a:avLst/>
          </a:prstGeom>
        </p:spPr>
        <p:txBody>
          <a:bodyPr vert="horz" lIns="91422" tIns="45713" rIns="91422" bIns="45713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Spatial </a:t>
            </a:r>
            <a:r>
              <a:rPr lang="nb-NO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cale</a:t>
            </a:r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6"/>
            <a:endParaRPr lang="nb-NO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7"/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Plassholder for innhold 2"/>
          <p:cNvSpPr txBox="1">
            <a:spLocks/>
          </p:cNvSpPr>
          <p:nvPr/>
        </p:nvSpPr>
        <p:spPr>
          <a:xfrm>
            <a:off x="395605" y="4546174"/>
            <a:ext cx="5699966" cy="648222"/>
          </a:xfrm>
          <a:prstGeom prst="rect">
            <a:avLst/>
          </a:prstGeom>
        </p:spPr>
        <p:txBody>
          <a:bodyPr vert="horz" lIns="91422" tIns="45713" rIns="91422" bIns="45713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Time </a:t>
            </a:r>
            <a:r>
              <a:rPr lang="nb-NO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cale</a:t>
            </a:r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4"/>
            <a:endParaRPr lang="nb-NO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5"/>
            <a:endParaRPr lang="nb-NO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6"/>
            <a:endParaRPr lang="nb-NO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7"/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ttvinklet trekant 13"/>
          <p:cNvSpPr/>
          <p:nvPr/>
        </p:nvSpPr>
        <p:spPr>
          <a:xfrm flipH="1">
            <a:off x="1619953" y="1629177"/>
            <a:ext cx="7202051" cy="914612"/>
          </a:xfrm>
          <a:prstGeom prst="rtTriangle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9CB86E"/>
              </a:gs>
              <a:gs pos="100000">
                <a:srgbClr val="156B1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3" rIns="91422" bIns="45713" rtlCol="0" anchor="ctr"/>
          <a:lstStyle/>
          <a:p>
            <a:pPr algn="ctr"/>
            <a:endParaRPr lang="nb-NO"/>
          </a:p>
        </p:txBody>
      </p:sp>
      <p:pic>
        <p:nvPicPr>
          <p:cNvPr id="15" name="Picture 2" descr="http://www.pindhus.dk/varer/messing-termomete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9393" y="1953501"/>
            <a:ext cx="895307" cy="895359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http://www.marijuanagrowershq.com/wp-content/uploads/2011/12/CO2-in-cloud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8035" y="1958236"/>
            <a:ext cx="936267" cy="895359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ttvinklet trekant 16"/>
          <p:cNvSpPr/>
          <p:nvPr/>
        </p:nvSpPr>
        <p:spPr>
          <a:xfrm flipH="1">
            <a:off x="1619953" y="3188562"/>
            <a:ext cx="7202051" cy="914612"/>
          </a:xfrm>
          <a:prstGeom prst="rtTriangle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9CB86E"/>
              </a:gs>
              <a:gs pos="100000">
                <a:srgbClr val="156B1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3" rIns="91422" bIns="45713" rtlCol="0" anchor="ctr"/>
          <a:lstStyle/>
          <a:p>
            <a:pPr algn="ctr"/>
            <a:endParaRPr lang="nb-NO"/>
          </a:p>
        </p:txBody>
      </p:sp>
      <p:sp>
        <p:nvSpPr>
          <p:cNvPr id="18" name="Rettvinklet trekant 17"/>
          <p:cNvSpPr/>
          <p:nvPr/>
        </p:nvSpPr>
        <p:spPr>
          <a:xfrm flipH="1">
            <a:off x="1619953" y="4726238"/>
            <a:ext cx="7202051" cy="914612"/>
          </a:xfrm>
          <a:prstGeom prst="rtTriangle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9CB86E"/>
              </a:gs>
              <a:gs pos="100000">
                <a:srgbClr val="156B1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3" rIns="91422" bIns="45713" rtlCol="0" anchor="ctr"/>
          <a:lstStyle/>
          <a:p>
            <a:pPr algn="ctr"/>
            <a:endParaRPr lang="nb-NO"/>
          </a:p>
        </p:txBody>
      </p:sp>
      <p:sp>
        <p:nvSpPr>
          <p:cNvPr id="16" name="Ellipse 15"/>
          <p:cNvSpPr/>
          <p:nvPr/>
        </p:nvSpPr>
        <p:spPr>
          <a:xfrm>
            <a:off x="2628579" y="4985048"/>
            <a:ext cx="1172694" cy="914612"/>
          </a:xfrm>
          <a:prstGeom prst="ellipse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3" rIns="91422" bIns="45713" rtlCol="0" anchor="ctr"/>
          <a:lstStyle/>
          <a:p>
            <a:pPr algn="ctr"/>
            <a:r>
              <a:rPr lang="nb-NO" dirty="0" err="1" smtClean="0"/>
              <a:t>Year</a:t>
            </a:r>
            <a:endParaRPr lang="nb-NO" dirty="0"/>
          </a:p>
        </p:txBody>
      </p:sp>
      <p:sp>
        <p:nvSpPr>
          <p:cNvPr id="20" name="Ellipse 19"/>
          <p:cNvSpPr/>
          <p:nvPr/>
        </p:nvSpPr>
        <p:spPr>
          <a:xfrm>
            <a:off x="4068654" y="4961229"/>
            <a:ext cx="1374481" cy="962249"/>
          </a:xfrm>
          <a:prstGeom prst="ellipse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3" rIns="91422" bIns="45713" rtlCol="0" anchor="ctr"/>
          <a:lstStyle/>
          <a:p>
            <a:pPr algn="ctr"/>
            <a:r>
              <a:rPr lang="nb-NO" dirty="0" err="1" smtClean="0"/>
              <a:t>Season</a:t>
            </a:r>
            <a:endParaRPr lang="nb-NO" dirty="0"/>
          </a:p>
        </p:txBody>
      </p:sp>
      <p:sp>
        <p:nvSpPr>
          <p:cNvPr id="21" name="Ellipse 20"/>
          <p:cNvSpPr/>
          <p:nvPr/>
        </p:nvSpPr>
        <p:spPr>
          <a:xfrm>
            <a:off x="5663774" y="5022286"/>
            <a:ext cx="1160390" cy="840141"/>
          </a:xfrm>
          <a:prstGeom prst="ellipse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3" rIns="91422" bIns="45713" rtlCol="0" anchor="ctr"/>
          <a:lstStyle/>
          <a:p>
            <a:pPr algn="ctr"/>
            <a:r>
              <a:rPr lang="nb-NO" dirty="0" smtClean="0"/>
              <a:t>Day</a:t>
            </a:r>
            <a:endParaRPr lang="nb-NO" dirty="0"/>
          </a:p>
        </p:txBody>
      </p:sp>
      <p:sp>
        <p:nvSpPr>
          <p:cNvPr id="22" name="Ellipse 21"/>
          <p:cNvSpPr/>
          <p:nvPr/>
        </p:nvSpPr>
        <p:spPr>
          <a:xfrm>
            <a:off x="7069320" y="4961230"/>
            <a:ext cx="1117092" cy="886380"/>
          </a:xfrm>
          <a:prstGeom prst="ellipse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3" rIns="91422" bIns="45713" rtlCol="0" anchor="ctr"/>
          <a:lstStyle/>
          <a:p>
            <a:pPr algn="ctr"/>
            <a:r>
              <a:rPr lang="nb-NO" dirty="0" err="1" smtClean="0"/>
              <a:t>Hour</a:t>
            </a:r>
            <a:endParaRPr lang="nb-NO" dirty="0"/>
          </a:p>
        </p:txBody>
      </p:sp>
      <p:pic>
        <p:nvPicPr>
          <p:cNvPr id="1028" name="Picture 4" descr="http://www.primap.com/Karten-Globus-240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8343" y="3459547"/>
            <a:ext cx="977408" cy="977464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AutoShape 6" descr="data:image/png;base64,iVBORw0KGgoAAAANSUhEUgAAAQcAAAC/CAMAAADEm+k5AAAAQlBMVEXvKy0AKGj///8AEF+0uMf1jo/vHSAAB10AGGHO0NqPlq3vISTzdHXuFhn4tbUAH2Rlb5L0iYr60dH3ra7uAADzb3BIJ1kjAAABsElEQVR4nO3byUpDQRBA0WecYjTGOPz/ryqchS4iGKhAgvesG6q5y25qWUY8Pq2+PdxfHbLe/DjzvJ0ZfGbqQB2oA3WgDtSBOlAH6kAdqAN1oA7UgTpQB+pAHagDdaAO1IE6UAfqQB2oA3WgDtSBOlAH6kAdqAN1oA7UgTpQB+pAHagDdaAO1IE6UAfqQB2oA3WgDtSBOlAH6kAdqAN1oA7UgTpQB+pAHagDdeDyO9yN2H4c2+F9ZvCU5XbE/u3IDq/7mcFTltW8v3Q4N3WgDtSBOlAH6kAdqAN1oA4sN/M264Mddi8nmDVluZ53OMNXiBPMmrL8cuf/pg7UgTpQB+pAHagDdaAO1IE6UAfqQB2oA3WgDtSBOlAHeq+m/wv6z6IO1IE6UAfqQB2oA3WgDtSB9i9oH4eh7abL38+aUQfqQB2oA3WgDtSBOlAH6kAdqAN1oA7UgTpQB+pAHagDdaAO1IE6UAfqQB2oA3WgDtSBOlAH6kAdqAN1oA7UgTpQB+pAHagDdaAO1IE6UAfqQB2oA3WgDtSBOlAH6kAdqAN1oA7UgTpQB+pAHagDF9/hE0NWt3iu/9pbAAAAAElFTkSuQmCC"/>
          <p:cNvSpPr>
            <a:spLocks noChangeAspect="1" noChangeArrowheads="1"/>
          </p:cNvSpPr>
          <p:nvPr/>
        </p:nvSpPr>
        <p:spPr bwMode="auto">
          <a:xfrm>
            <a:off x="2124099" y="-2980428"/>
            <a:ext cx="6586441" cy="4789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2" tIns="45713" rIns="91422" bIns="45713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pic>
        <p:nvPicPr>
          <p:cNvPr id="1032" name="Picture 8" descr="http://wiki.hattrick.org/w/images/4/4d/Flag_of_Norg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8652" y="3425951"/>
            <a:ext cx="1344123" cy="977464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://dintur.no/App_Themes/dintur/images/Bilder%20fra%20cms/%C3%98stlandet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490" y="3369589"/>
            <a:ext cx="1216811" cy="103383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039" name="Picture 1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377" y="3357773"/>
            <a:ext cx="1198295" cy="1030716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40" name="Picture 1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654" y="1890569"/>
            <a:ext cx="1003663" cy="942579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43" name="Picture 19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6215" y="1860449"/>
            <a:ext cx="955116" cy="91897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44" name="Picture 2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2687" y="1699833"/>
            <a:ext cx="1007450" cy="895359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2" name="Picture 17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570" y="1244815"/>
            <a:ext cx="1216804" cy="987916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3" name="Picture 18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1331" y="2312920"/>
            <a:ext cx="1197660" cy="932996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4574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1" grpId="0" build="p"/>
      <p:bldP spid="12" grpId="0" build="p"/>
      <p:bldP spid="14" grpId="0" animBg="1"/>
      <p:bldP spid="17" grpId="0" animBg="1"/>
      <p:bldP spid="18" grpId="0" animBg="1"/>
      <p:bldP spid="16" grpId="0" animBg="1"/>
      <p:bldP spid="20" grpId="0" animBg="1"/>
      <p:bldP spid="21" grpId="0" animBg="1"/>
      <p:bldP spid="2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innhold 5"/>
          <p:cNvSpPr>
            <a:spLocks noGrp="1"/>
          </p:cNvSpPr>
          <p:nvPr>
            <p:ph idx="1"/>
          </p:nvPr>
        </p:nvSpPr>
        <p:spPr>
          <a:xfrm>
            <a:off x="612778" y="1557586"/>
            <a:ext cx="5832648" cy="4176464"/>
          </a:xfrm>
        </p:spPr>
        <p:txBody>
          <a:bodyPr>
            <a:noAutofit/>
          </a:bodyPr>
          <a:lstStyle/>
          <a:p>
            <a:pPr>
              <a:tabLst>
                <a:tab pos="723681" algn="l"/>
              </a:tabLst>
              <a:defRPr/>
            </a:pPr>
            <a:r>
              <a:rPr lang="en-GB" sz="2800" dirty="0"/>
              <a:t>Meetings/seminars with “homogeneous” user groups    </a:t>
            </a:r>
          </a:p>
          <a:p>
            <a:pPr>
              <a:tabLst>
                <a:tab pos="723681" algn="l"/>
              </a:tabLst>
              <a:defRPr/>
            </a:pPr>
            <a:r>
              <a:rPr lang="en-GB" sz="2800" dirty="0"/>
              <a:t>Working together in projects to define the needs</a:t>
            </a:r>
          </a:p>
          <a:p>
            <a:pPr>
              <a:tabLst>
                <a:tab pos="723681" algn="l"/>
              </a:tabLst>
              <a:defRPr/>
            </a:pPr>
            <a:r>
              <a:rPr lang="en-GB" sz="2800" dirty="0"/>
              <a:t>…and tailor products</a:t>
            </a:r>
          </a:p>
          <a:p>
            <a:pPr marL="0" indent="0">
              <a:buNone/>
              <a:tabLst>
                <a:tab pos="723681" algn="l"/>
              </a:tabLst>
              <a:defRPr/>
            </a:pPr>
            <a:endParaRPr lang="en-GB" sz="2800" dirty="0"/>
          </a:p>
          <a:p>
            <a:pPr marL="457051" lvl="1" indent="0">
              <a:buNone/>
              <a:tabLst>
                <a:tab pos="723681" algn="l"/>
              </a:tabLst>
              <a:defRPr/>
            </a:pPr>
            <a:endParaRPr lang="en-GB" sz="2800" dirty="0"/>
          </a:p>
        </p:txBody>
      </p:sp>
      <p:sp>
        <p:nvSpPr>
          <p:cNvPr id="7" name="Plassholder for lysbildenummer 4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</p:spPr>
        <p:txBody>
          <a:bodyPr/>
          <a:lstStyle/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12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9" name="Tittel 4"/>
          <p:cNvSpPr>
            <a:spLocks noGrp="1"/>
          </p:cNvSpPr>
          <p:nvPr>
            <p:ph type="title"/>
          </p:nvPr>
        </p:nvSpPr>
        <p:spPr>
          <a:xfrm>
            <a:off x="864330" y="319386"/>
            <a:ext cx="7236856" cy="1108253"/>
          </a:xfrm>
        </p:spPr>
        <p:txBody>
          <a:bodyPr/>
          <a:lstStyle/>
          <a:p>
            <a:pPr algn="ctr"/>
            <a:r>
              <a:rPr lang="en-GB" sz="3600" dirty="0"/>
              <a:t>Communication with key users is crucial!</a:t>
            </a:r>
            <a:endParaRPr lang="en-GB" sz="1600" b="0" dirty="0"/>
          </a:p>
        </p:txBody>
      </p:sp>
      <p:sp>
        <p:nvSpPr>
          <p:cNvPr id="4" name="AutoShape 2" descr="https://imap.met.no/service/home/~/image001.png?auth=co&amp;loc=no&amp;id=40938&amp;part=2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3" tIns="45708" rIns="91413" bIns="45708" numCol="1" anchor="t" anchorCtr="0" compatLnSpc="1">
            <a:prstTxWarp prst="textNoShape">
              <a:avLst/>
            </a:prstTxWarp>
          </a:bodyPr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10" name="TekstSylinder 9"/>
          <p:cNvSpPr txBox="1"/>
          <p:nvPr/>
        </p:nvSpPr>
        <p:spPr>
          <a:xfrm>
            <a:off x="6589021" y="6166097"/>
            <a:ext cx="1872208" cy="369400"/>
          </a:xfrm>
          <a:prstGeom prst="rect">
            <a:avLst/>
          </a:prstGeom>
          <a:solidFill>
            <a:srgbClr val="E9E9E9"/>
          </a:solidFill>
        </p:spPr>
        <p:txBody>
          <a:bodyPr wrap="square" lIns="91413" tIns="45708" rIns="91413" bIns="45708" rtlCol="0">
            <a:spAutoFit/>
          </a:bodyPr>
          <a:lstStyle/>
          <a:p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56322" name="Picture 2" descr="http://www.anbudsassistenten.no/wp-content/uploads/2013/03/skillesegut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906" y="1197546"/>
            <a:ext cx="2925902" cy="2222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4" descr="data:image/jpeg;base64,/9j/4AAQSkZJRgABAQAAAQABAAD/2wCEAAkGBxQQEhQUEBQVFhUXFhQVFxgVGBYXGBYUFxUYFxQXFRcYHCggGh4lHRYWITEiJykrLi4uGB8zOjMsNygtLisBCgoKDg0OGxAQGzImICQyNDQ3NDI0LCwsNDQsNCwsLDQ0NCwsLCwsLDQsLCwsLCwsNCwsLCwsLCwsLCwsLCwsLP/AABEIAMIBAwMBEQACEQEDEQH/xAAcAAEAAQUBAQAAAAAAAAAAAAAABQEDBAYHAgj/xAA+EAACAQIEBAQEBAMIAQUBAAABAhEAAwQSITEFBkFRE2FxgSKRobEHFDJCUnLBIzNigpKi0fDhQ1NUk7IV/8QAGwEBAAIDAQEAAAAAAAAAAAAAAAQFAgMGAQf/xAA2EQACAgIABAQDBwQCAgMAAAAAAQIDBBEFEiExE0FRYQYikRQycYGh0fBCUrHBI+EzQwcVFv/aAAwDAQACEQMRAD8A7jQCgFAKAUAoBQCgFAKAUAoBQCgFAKAUAoBQCgFAKAUAoBQCgFAKAUAoBQCgFAKAUAoBQCgFAKAUAoBQCgFAKAUAoBQCgFAKAUAoBQCgFAKAUAoBQCgFAKAUAoBQCgFAKAUAoBQCgFAKAUAoBQCgFAKAUAoBQCgFAKAUAoBQCgFAKAUAoBQCgFAKAUAoBQCgLGPxHhW3uHXIrNHeATFZ1w55KPqYWz5IOXoc2x2MxTS7XbgnWFZlA8gAa6SqnHXyqKORnm3zltyZsP4e8dfErdt3WzNaKwx3KtMA94KnXzqp4ljwqmnDszoOHXztg1Pujb6rixFAKApQHOuPcUv3bjlLjpbV2RQjFZCkrJI3mJrocTGphBcy22v8nK5mdbK1qL0kzI5D45dfENYuuzjIXUsZKlSoIk6wc30rRxTGrhFTgtE/heTZOThJ7N+qlLsUAoBQGr85cSuJktWSVLBmZhuFWAAD0knfyqy4fRXNudi3oqOK5U6oxjDps0uzx6/h7it4rsAwzKzMwZZ1EE9utXFuJTOt/KkVOPl3RsT5mdbFcqdaVoBQCgIbmviTYezNv9bsttT2Jkkx6A1KwqY226l2XUh517ppco9zneL4niLbT493MNf1t9pj2iujhjUSj9xaOZWXc3vmZ0zl3HnEYa1dbdl1jbMDBI9xXMZFartlBdkdXjWOyqMn3ZI1pN4oBQCgFAKAUAoBQCgFAYXGWTwLvitkQoylu2YRoOp10FbaFLxI8i29mnIcFXLnelo43jeM3FEOrDoDBg+hrqPlj5HJxqjLsS34f8ft4MXTeS7musplQCAijTczuWPyqDl4duQ1KOi0xcurHTjLZ1Lh+Pt30FyywZT1HfqCNwfI1R2VyrlyyWmXddkbI80XtGTWBmKAx8djEsI1y62VRufsAOp8qzrrlZJRj3Ndtsa4uc3pHHeNcUZWYqri2zuyEjozFoMaAia6etKuKUu6RyklGycpR7NnvkfjdvD4h719bkFMilQDEsCxIJB6DbzrRmUW5EUoE3Durx5bkdfwOMS+guWmDI2xH1HkfKuenCUJcslpl/CyM480XtGRWJmKAtYnELbUu5Cqokk7AV7GLk1GK6sxnOME5SfRHM+b+YPHYXLCPlRWRmMagkEELuNj866DExZURan5nN5uTDJkuXy/U07DY4XLtvxM2QOpeBrlBkgTGp2qXOUpxah3NNcYwknLsd24VxO1ibYuWWDLt2IPZh0NcvbVOqXLNdTp6roWx5oPoZlazaKAs4vEpaRnuMFVRJJrKEJTkoxW2YTnGEXKXZHPuauZhibYFm039m4uBmKiYBB+H0Y9avcXBnRLmk11XYocvOryI8kU/wATn+J4m10mJk+v1qxU/KJCVSXVncOU3tflbS4d86IoSdjmA+LMOhnWPOuXyozVr8RabOmxZVupKD2kS9RyQKAUAoBQCgFAKAUAoDxccKCSYABJJ6AbmiTb0jxtJbZzni3ELvEr6WLPwgmVBE5LY/VeujvGir3IHc1ewhDCr5n1k/5pf7Ofdk8+3lXSCIbmewcNiGsZjcVVRgXy5viGs5QBuD0qRhXu2vma6mrKxo02csSAxvEblpCbYHoRI+VSLJNLoaYVxk/mNo4FxM4O7buWzNi94ZYdCjxDR0ZZ+hFRb4QyqW/6om/Htni3qHkzrFc4dKUdgASdABJPYDeiW2eN6Wzm3Esbd4piFs2zlWSVET4dsaNeuD+KNAO5A7mr6MY4NXM/vP8AmjnnOefdyr7iNb42rWb96yGLpbfIpaMx+EEzAA3J6VKxrZWVqUvM030xrscY+RENxDwmSdEzrnMAwmYZyAdJiaysslGL5TyuqM5al2N74feucLxWQmbNx1DDpDGEuL2/8EaxUS2MMyjn/qX80SKZzw8jw391/wC/M6XVAdCKA5zzTxZ8XfGGs6rnyKv/ALlwbs3ZVgn0E9qvsSmGNV40+7/n1Oey7p5V3gV9kafxuy2Hv3rQuF0RlWSACWyKX0GwzFgB2FSce6VkFKXmab6IVzcY+REXcXkg7CRJ7CdT8q2Tm4rcTGFak9M6DibN3hGIz2iXtsASNB4iDeQNAyzuO4PUiocJQzquWfSSJE1PAtTj1izpFm6HVWUyGAYHyIkVQtNPTOgTTWy5Xh6c25q4q+LxAsWtVDlEUfvuDRmbyGvoATXQYdMManxp92v4vzOczbrMm/wYdkzRMU7Kzw+ZM7BTtIBgH0MTUuFkpR2zROuMXqPkWcH8d6zb28S7btk9g7hSR86wttcIuSM6qlOSizf71q7wjETbl7TCSDA8RBvIGgdZ3HcHqQI0JQz6+WfSS/n0N9ingW80esX/AD6nR8PeDqrqZVgGB7giRVDKLi9MvoyUkmi5XhkKAUAoBQCgFAKAweL8VtYW2bl5oHTaSeyjrXq1vTevxMo12T/8cXJ+i6mice54TEL4dthbRyA7FXdgvU5QBp5TrUqm7FpfO58zXb0PLODcVylyKlxi+7bWzK5c5h4ZhAVt3LhdyM9x7dws56SQugE6AaD61FtzfHnuTJ0Ph3Jxq21Dou/VEP8AiwhS5YxNvVLtvJI2lZZT7q5+VWvD7WouH5nN8Qq3JSNBuXnuLMaGYJ6wYMe9bb+IVVPlmzbgcDy8yLnTHaXvonuAY1FwptYhgGt3FazoxlGM3EJA0AYZh/M3eolfEqFPv0a0/wBywv8AhfiPhpqvcova6r6HSOFc8JfYjIAqhiSLiFiQNAlow7SdNBUSSo18liZ5KjOq630uK+pa41xu9ibZt4e0yK8Kz3NGCEwxCGOnnPStVfE+G48uedybXZLfch215d65I1tJ929Gdy7hcPgkIQszsQXuMPicjbbYDoBt661Av+Isa6W5S/Rk6jhzpjyxRyjnjHhcdiDbYMjMGBHcqMw9mDD2rqcK/mojJdijy6v+aWyLscMxOL+G3abVVf4oQFHEowzkZgRsRNas3ilGNDntlpGVGFZZLUUdSfCG9gbC3hGJtIq6GQ2UwAW2MgK3kfeqTH+I8Ku5/N8r9mWOTwu6ypdPmj2JrA8xXXuKj4fKv7rhuIFHmAdT7VkszAn/AOO5N+nme1rK389el+Jh8U52UZ0w6MzCQHbRZGkj+IVIjLFg/wDmtS9l1ZXZXFY1txiuvuRvKeJwmFHi3XdsQ6jMShIQHUokdJ3PUj0FYZnGarpcqfyrsaMPMw6Y7b+Z9+jOec2YxhibzfsuXbjoe6liRpuNCNDVthZldlKcH0R5Lluk7I9myHu2rtxza8NhcEhlYZSsb5g0RvW63JjGHPJ9B4fJtvyOzXeM4bEYW3avswuC2kkIzZboQBo7iZB7g1z1fFaqreaLNt2fiXVck3+j7mPwvm9rNu3ZFkPlAVW8RbYyrouYvptHr2qVPIwbZOcbdb8tGvG4pyxVb106b3oz+Mc+W7LG2iFnABn/ANOSJ0cD4hr0qViYDyFzKXT2J1+f4a1Fb/wa9wHi2FsW7t53Y4u4twD4GypMwqkaamCTPbarHKxMm2ShFfIvch4t1FUXJv5n/s59ct3ohULBRJyjMQAJJIGsAazW67mq1z9NmiuKn2KcuXDcxmGA6XrTHyVHDsfYKTUa6zcGSKa/nR2DjfM+AxCG29x5BlWFt5RxIkSPUEdQSKjY+Blxasgv1RJyMrGsi65v9GRXC+eBh0FoILqqSqHN4fwzpOfQDt5QKlX8LlY/E7N91rZEx8+VUfD0ml2fbob3wfiS4i2HUpP7gjrcyt/CWXrVJbVKuXK0/wA1ouarFZHa/TqZ1azaKAUAoBQCgFAcT5y4u2MxTkSbdslEA1AUGGb3In0jtVffNyk0vI+gcHxYYuOm/vS6v/SNfitBcl/BA5wchcAgsqgyVnUaAx2mtlUuWW9EHiNMb8eVUpcu/M2znbjS47D2bdmxfQo8w1uFC5CsKVnuOgq2xc6FTbkn1RwuV8OXW6UbId/7jTBh2tqqMGH6iMwI3OsA9NBUDMyHdPma0ddwPhteDQ4RnzN92ikVFLtvRcskqwOoI1Htsa2Vr5kmis4pyTw7Ovl/g66NQK4OaSk0jkovoCKxXR7PTR+YORb1+5NooEItqZzBgFUKzaKQSYLdNTX0LE+Ja40KNlck16La/wBHP38MnK3njJaN4xeHQujqhTJb8IeaCMoI8tY/mNc/xbissivwowajve2WmPjqEubfXR5iucJwNZqM0uZJmO12NKNnIzoNld1H8s/CPYED2rqbpc8YWf3RTZ8447Sq8t68wRWgp9lixw5HxVi7czMltgxtqJLFdVjX+ILPkKucHifg1Olx3+Ba4Oaq+WM02l20ZHMuGF7HfmbQa2rIuYMsM7AFW02ggJ8qlWcXiqPDUXv3JWVxGPM3CLW15rR4iucKHZUCvUm/I9032I/iNuCD3+4/8fauw+FcqSm6X2ZaY7c8dxfeL/RmHXdmBLcvYx8O7Otk3FdGtsMpOjbwwB1qvz6K74qLkk0S8S2dT2o7TMDkq2MJifEvW2u5bbqqIJOcwpLA7DLmHXeoeRgznDSkkvXZvoyYQnvTfsMapzlmQoGJIBBGnYSBMaVaYkYwrUIy3oh5EnOxzktbLFSDSTvJ/FWwmJSZCXCEcHsT8LexPymq3iVEb6W13j1JuFdKq1J9n0Ox1yJ0goBQCgFAKAtYi+ttS9xgqqJZmIAA7kmvN6MoQlNqMVtshcLw7DW1a4t2EOsrcCIB/kgfOveZa2ZyhbKXLJNv89nI+PPabEXTh/7vN8J7iNT7marLmpTbR9E4XVbViwhb3PXBuOXcEXewVBZQCWXNoDOnavIWSh2M8zAqy0o276enQ6jzHxm9heHpdlfHIsgkjTO0F/h9mqdZNxhvzOJwMOrJzXV15Ov46XY5bxvjV3GMr3yCVGUZRlETO1QJ2Sm+p2+Hg1YkXGrz9epIclWka+Q++VoB2JEHX2mo2X4zof2f73t317FNx52bgnvk8/TfubhdxmGuFbTPbbUZVkEAgiAvbUjQVURhxSFUpbetebTevbzOf0kt6evz0SNUmzaiqLJA8x962UR3bFe6En8rJ3G3MsfHk9pmu7z7o1Rjuzk/Leyrqi5PtsisfezQPEzjfaINcxxPJVkYxVvOvw1om0Q02+XRGY8Obb+F+vK2X+aNKrsXw1dHxPu7WzdZvlejV7Vu5bZSMwuEBpJlyCOpOvsfSurs8bmen8v4rl1/g+fXVcR+0PSlvfl2LLJlJB3kltZOY6mfPXbpUa9T2uf06emiBnLIVusj7wrSQzbeRsB+u+w2lU+7kfQfOrfh1XexnQ8DxtKV7Xsv9/sZ3FcG+NwoZ7ZS8mYhSNdNwPIiPet99Tvp21qSJmVRLLxtuOprt/Pc0OqI5Ew8XYc5mUnKAsjMBuSNFnXWPmK7D4auxIJxs1v3LnGlvHUa3qSfX19jHfD3CsnYDqwmPIT9N66Wu/h6yEoNc/sbNXOLX7bMarcinSPw+xhGCvZRLW3cgdxkDAe5zVzHF619pj7pfsX3DpvwH7Ehw3hiDFnG2iPCu2M3o5Kkn3An1mo92RPwFjT7xZuqpj4rvj2aIbnpvzOBw2JHdSfIXE1H+oCpnCt05U6n/NEXPfiUQsX83/2aZwY2hft/mJ8PN8RG4HQ6dJirfPrnZRKNfcrsScIWpz7HTr3BcEUD51CCDm8QFSBru0/SuRirk+Vb3+Z0bdTW3o2HD31uKGRgysJBUyCO4IrVKLi9PubVJNbRcrw9FAKAUAoDUvxOcjAtGxuWwfSZ+4Fab/uMuOBJPNjv3/wcms4N3/RbZv5UZvsKgcrfY7ud1UOspJfi0ZQ4NiP/AI97/wCt/wDivfDl6Gl5+Kv/AGR+qMa7Za2wFxGU6HK4KyPQ9Kx049zfGyFsXyS37rqTnMXNd7Hott7aqFbP8GYkmCNZPnW6dsrOmirwuF0YEnbz91rroh7fDrzfptXD6Ix/pWvwp+hM/wDsMXt4kfqjxewVxf123Uf4kYfcVi4yXkbo5FNnSMk/zRJ8oYTxcQp/anxk+mo+sVHzLfCx5y830X5/9FHx66PLCheb3+SOiPiEG7qPVhXJwxL5fdg3+TOe8WK8yuHxSlhkZWIIMAg7eQrfDFyqZKx1vo99n5HjshJa2STcTY7qp9Qf+asZcftl96uLNaxYrzZh47iAIGfInXoPuaj5F1+dBKNXb+1MyioVPrIxBjLZ2uJ/qX/mobwcmP8A65fRmzxoeqLqsDsRWlwmvlaZmmn1RpXieIzuNnd2HpMKfkBXU21SjGFSW3GK+p8845N25bUV2BrBYtz7Qf0KtY9r/pf0Jm1zJdWyLNsKgAAzLObeSZmJOvzqTLIvqrUOXl+pYvPyKaVUocuum+uymA5lv2iSW8SREXCTHmINYVZtsH6/ia8fiuRW+r5vxI3G387s5ULmMkCQATvE+etYzousk5qD6+xGurtum58jW/RMsVqdFke8WjU6bY9eVmPjv0+4+hn+lWHB4Sllx0TOGJ+M5PyTI1bTHZT8jX1N2wXdo2KEn2TJjl/jt7BC4LdtWFzLIcN0naCO9V+XVjZLi5Waa9GiZj2XUJpR3v8AE98M5pvYew2HVVKnOAWzZkDjULB7kn3rK3h1V9it36dtddHleZZVB16/jLa8euthPymRWQfuhi4+PONjGh02rKWJVDI+0OWn+Wu2jGORZKnwUtoiPAb+E/I1KWTS/wCpfVGjwbP7WeGtRuI9q2KcX2Zg4SXdHV/w5YnBJPR7gHpmn7k1yPFNfaZaOj4fvwI7NoqvJooBQCgFAaxzjjxAsjcwzHtB+GPOq7Oy3UlGPdlLxXiU8bUKnqXr6I1RyTuWPqSfuap5ZV0v6mc1POyZvcpv6lvwh2HyrDxZt/eZp8ez+5/U1/iNi9dYt4bsoJUZVZgI3BiY9/WruUZcsUuq1+J9w+Fp4tOEtWJyffb/AHKcJwzhxK6HQg9u5Hb+sVjLdVcnLp0/MhfGXEcV4TrjP5vLTJ3wV/hX5CqfxZ+r+p8d8azvzP6nsXPDBKkrGvwkr9q213XuSjGT6kijKyXNRhN7fuaxjuIXLjsSxEwDGkxtMbxO5q3nbJPSfY+48K4NWseE8lc02vMwzrvWl2TfmXccPHj2gvojI4Yv9qnxFfiX4gcpGo1B6etZQlLfR9ddPxIHFqYxxZOEFv8ABdF5s6uzqnwlgIHUjbpvXG2YuS7HzQe2/T+I5NWQS7nOebblt8QxtnNtJBkZoEwfl7zXVYkbasWELOjW+nt5F5wKpTdk5RTi9abX86EJlrcpy9TonjUy7wX0Rds4p0/SxHQwdx1FZq2Xn1/EhX8HxLYv5En6roZhaQNTECBJIAGmk+ld3w6qiyiM1FHxriKux8mdbfZnjKOwqyVNa/pX0K92zf8AUzP4QhJfKYGWSJAmCOh/VHb1rlPiamxwSrj0N0vEtxpRh1e+q9vYzTEGdus7fOuLppu51yxeyuppuVicYvaINwJ0FfWcWtOmLnFJ69CwvnJWPT/UoBW149T7xX0NausX9TMrh19VuKbksoOoltAdCRB7VR8Y4avs8p4/yzXmix4flf8AMlZ1TN+TA2ultPXKD9TXxy3MyZNqc3v8WdrGqtLokXDhk/gX/SK0+Pb/AHP6sz5I+honGMK6N8QG7hVESoDkwFGy/FI6QfWvs3w5m488SKUuvucXxbHt8bm5eh74CrLeSbeYMcpDLOnUie3etXxU6J4Mm56ku2me8GVsb+kej7m8HDId0X/SK+PePb/c/qdpyR9Czc4ZZO9tPYZfqsVJp4jlVv5LGvzNU6KpLrFG0cv4MWcPbRf4c3fVviP1NfQYylKKcntlRypdESNegUAoBQCgNFxWEe7iLsrdPxHVElY/aMzFRoIqsu4c7bHOUjnr+D2ZF8rJy1v8yPxeGNtypDDtmEGPST96q8rGePJRb3so87Cli2cje9kzyvw63eFzxVzEFY1I0M9j5VL4fRXbGXOt6LLg2JTfGXiLei5wTgNtw731BBYqgJI0BI9529qlYWPy8zb6b6E3hmFyqUpt6baS2+2yuE5et/mri5ALShSFEgSwEaj0Y/KsViKeRLm6xR5HhsbMyfOtxS/z/GQHFcniuLQhAco3MxoTr3M1V5Lh4jUF0RQZzq8aSqWoroR2KtllIHWPlIn6VliTjC1Sl2NnDLa6sqE7OyZEWOBkxneB1IWY8wJE/SpzuoT1zfp0PqFv/wAg4kJ8tdba9f5/2RuKs5HZZDQSARIBHeDqPSs5R5WdxhZleXRG6vszYeS+Vfz7M1xitpCAcv6mbfKCdtIk+YrbTVz9WV/GOKfY0oQW5P6JEulvg5vfl/Duk5vD8TM+TPOWM2ed9JiK3qde+VN/qUs8biDr+1NR9dajvX01/sied+VxgWRrbE2nkDN+pWGsT1EbehrRfVyPaLng3E3lxcJrUo+nZo1lVkx/36VphBykootcjIhj1Stn2RkjBqTGcgdyv3AJ/rV//wDnr+TmT6+hxS+OqPE5XW+X13/0e1EADtpXR8Kxp0Y6hPucNxvLry8yd1fZg1ZlSb3ydy3hsThfEvWyz5nBh3Gg2EAgVz3Ec2+u/wAOL6dPJfsXODi1WVc8l16+bLvBeA4HF5wuFxFkqAczl1mf4TmIJ07Vouuuxmpc0Xv0S/Y21V1ZG1yyWvVv9zS+NYEYe/dtBswRoB7iARPnrB8wa6HFudtUbGtbKa+tV2OK8jGw1k3HVBMsYEamfcj71qz86vCpd1nZGeLjSyLFCJLYjlm8uq5W8lOv1iuVr+NsG7cZpxXuXEuA3Q1KLTNv4fbZbVtX/UEUH1AE18uy5wnfOUOzZ1lSaiky/UczJK/wm3dsg+GGaAYPxa6TodO9dZDh8Hhq3H2pteTZXO5+Jyz7C3wqzh7clAD1yDLJ6DSs7cKmnH58tuT/ABf0PI2ylPVfQjmMnQR5dq5OyUZSbitL0LGKaXU81gekxhOJqltQZJACwB2ETJ0rtKuN4ypTk+uu2isliz5unYzMJxBbhgSD2P8ASpuHxGnL2ob2vJmqymVfcy6nmoUAoDG4jixZts5Ex07k6AVrtsVcHJ+Royb1RW7H5EKnNSR8Vtwewgj5kj7VBXE6tdUyqjx6jl6p7Ne4njTfuF2EaQB2A++5qpych3z5mc7nZksq3na0vIleUcQqNczMFBC7kDqe9TeGTjFyUnotOA3Qg5qT127nvjfFh41pLZGRHRjGxMjb0E/OtmVlrxYRi+ifU3Z/EI/aK6630i02SfGuKolpjbdS7fCMpBOvXTsJqVlZMIVNxfUsc/OrqolKDTbNFIrnDijE4hi/CWYmfOKmYlEbG3Psi74Bwj/7PJVLekYt7jtvdEf0Yg/7gNR7VJ+yU73t/gdbL/49u8XpYuX9SAuOWJJrdOXMz6bgYcMOiNMOyN7/AAz49asrcsXmCFnzozGFaVClZ6HT61Jx7ElysoPiHAtsmrq1ta0/Yu4bkZLeIF58VbNlbniAaAkBsygtmjeNesbCdMlQlLm2a7OOTsx3TGp8zWv9PpojvxG5ht4prdqwQyWyWLjYsRACnqAJ18615Fik9ImcA4fZjxlZYtOXl56NPtPlYGJg7d/KtNVjrkpLyLjNxY5VEqZeZmXsTbzEoHyz8KkiQOxYDX5V0/8A+k1D7vU+eL4GvdmnNcp6ZlMFQRoJBM/FGsabVd8Ny5ZVPPLucrxbBWFkypT3o8GrErDpX4b4pFwrBnVT4r6EgaZU7+9cxxiuTyE0vJf7L7hs4qnTfmU5U5o/MB7GKcBxmyuDkzLMESIhh5bj0rzNwHTy2VLp6d9P9j3FzPE3XY+ppPMnDPy15lVw6NLI8hiQTqGI/cDv3361e4OR41SbWmu6KjKp8Kxre0zE4biRZupcK5gpmJiem/SseI4MM2h0z8z3EyZY9imiduc3HL8NsBvNpA9o1rhavgL5/wDks+U6CfxDHl+WPUneE48Yi2HAI1yme4An71xnGOHrBypUxfQvcO/x6lMzKqiSTvCr48IAkSCRqQOsj712nB8mP2NKTW1vzKzJg/ELWDx4uSt2NZjtHatGFxSOU5U5Guvb0/AytocNSgYGNwwQ/CQVO0EGPI1R8Rwljz3B7i+3X9CXTbzrqupjVXG4ttYvux8AIQoUkMSGMlpy9Nh3G9X/AAnhtGXVJ2N7T8iHk3zrkuUkOD4S8bitcTIqySSQSxIIAAHTWZ8qusHhEMWzxFJsjWZDsjpo2OrcjigFAQ/NImwf5lmouYm6JFdxZN4ste3+TSjXNHDs8uwG5j1rbVRZdLlri2/bqEtlqxcW5cCG6ltTqXb1/SoMCfWr7C4LdGLstrZd8LxseT5rn18kzZsJy+toQL146a5mVgfPKVjWpbjF9GkdOserWlFaIPHW8txgI0MaCBtrp01mubzYQhc1A4ziVVdeRKNfYxzUQgkbxu0WQR3P2n+lWfD+vNH1R13wbkxpz05dEzX2sEfqhf5iq/c1OjjWvsj65ZxrBr72L8uv+C8OHP2Hz/4rL7JZ7EZ/EeGu2/oU/wD5r9hFTaODZFq3tJe5XZXxtw6h6SlJ+y/dmPewuTcD2r3L4Nfjw8To17G3hfxdhZ1yqScZPtvWn9C6MG3+Ef5h/SoEcSxon2/EOFB623r0RRsIR1T/AFL/AFNe/YrPIxXxJg+ba/L9jycM8TlJHcaj5itbxrV5EyvjGFYtxsX+DJyZVGYhRH7iF8+prteHW04+NGMpdT5DxV25eXOxLuz0Lc7Mv+oH7VLfFMdeZCWBc/I9LhGb9ImATpB0Ak/QVlXxLHm9JmE8K2K20U/KtGo+dS+eJB50Ut4ckwIrTfl10pOfmSaKZXdIHu5hGUSYA7kgfetC4pjvzJDwLl5FsWiRIEj/AAkN9q3xzaJdpGmWNavI3TlK1lw4J/czt7TA/wDzXxn4muVvEJNeR3XDoclCRMVz5PLN60zlVVsgJMkRMRoBO3r5VdcDppsvasW+nREXLlKMPlD8tIxkXbwYdc89Z1Ea12jhBrlcVr8Cq0972V/u2Ntt1VSWJ/VJaDrqNANO81yfGuHRqlGyqPR90kWOLkbTUn2Llc81roycZGAxHhuCdtj6Hr7QD86tuDZfgX8r7S6fsRsqvnhv0NnWu5KorQCgFAYXFlc2mFtczdBmydejd/lWcFFvU+xrt5+V8i2/c53xpcbaUv4ZBmAtxLLgk7RcBP1IqXHAwrt+b7lFdCxSXi1R0+mzLv4dVZxdZSyHJKrlBIGpCyY1nr0qTg48aYLwo631KzNrhC9xgtJGrcbuKJiruG1HbNdcTe+ScQ1zA2S8kw6g91V2VfoAPauXzYqN0tHXYTbpWzDxXL98uSt+3lnQGzBjsWV4J84quli0N7cDTPhmPOXM49yE4th7ltxbS5ncqSRbtl2GvadPcdRVhjcLxXB2Tikiuvxqa7FCmtSZf4Twq65jEW3CwfjdkX4v2/2akk6+YrKyvGq/8T37a0T8WqxbTrUfddyzxDlEsCz+G2UEgqGRhGsgSZ+dTKcyjajyaNF+HkJOSnvRsXC7hNlCxzMFAYgRLgQ2nqDVfdXy3OLXmWOPap0qafka/i8XbCLqMxEn1Opro6q5J+xx0k5Sbfmavj7wYwOpA+tbcpp0yXsT+Hf8eRCb8mjoHAFP5e1mEHL2iRJg+4g1x6TS0zrrpRnZKUF0beiN5lYXilhBnckkqDEQN2boBJq2wYKqLusXQps6btkqan18yxwvlp0hXNpbcklUzMxncZzlI6Vqycmme+SHX1NuPjXQ1zT6ehTiPKfiHQWinRWVlI/zgmfWKyozKoR04dfUwvwrZy3Gz8iU4EPDXwmMlCQJ3CCABPWO/aK1ZkE34kF8rNmDa9Oqf3kXOOL/AGR1jVZ0nTMJHlWOFrx47NmdvwJaIPi95BoCNq6OhS7s5BRZjcsXZxQj+F59IH9YqNxWSdH5otuFRau/In+aingFXO5WBrLQwJAjWqnh0G7d66Lv6FrxGaVOt9X29SJ4fyzeUHL4VpWIJBBuNt10AB9DW/IysaT6Q3+hox8XJius9fqXuY7T2Aow3iqY/UEZlH+n+tRKMPHyU3dr89G/IyLaWlXFtFOAHFX1YHEAONQTblSD/nmQdx5jvUXM4Hh16lyJp+mzZicQtt3HbTXqTeE4NiM6tdxWZRBKLaCSQQR8WYkDyqJXgYtb5oVpMmuyx9JSbRmcxYxraIqGGuNlkbhQJMeew96ucCmM5ty7JFXxO+VVXy92aXxLChTrqfPWujpkmuhy23J9TK4J49y3fWxcIa1bNxFy5828qJOmw771z/F+E4U7o2yrW30b/wBnRcLzL1XKCk+nVGPwfijhz+de5eBHwph95nrESIn3o+B0VRThyr8TKvitk5NOLf4HV+D3xcsoy23tiICXBlZQNBInyqBZDkk473+BZ1z54p60ZtYGwUAoBQGv86pOEuGJAyk/y5hm+hNTOHtK9b/myBxODljy136P6HMOYL11mFxMzh1UtlBJFwABjp0MZvcjpV7U5VR5Gu3b8Chm67Zc2+r7/ia9cuXH0CtPmCI9ZrPnlLsjNQjE6jwvmHCYbD27aO58NAIyMCTux1GWSZO/WqefDsmybbXcto8Qx660k+3sQPFudnYHJFtfLVvdunsKn1cOoq6ze3+hBu4hfb0h8q/UneTOFtatG7eB8W8QxB3VP2KZ66kn18qqs/I8WzS7ItMHH8Kvb7snitQSceGSd9q9T0eNbWmanw3HtYuPZYfEN1Jy5o0DqYO4ir22iGTBWRZzlWRZhTlXJbWzUeN4R0clSuUklVzSyg9Dp0qZFz5Uu5HUoTbetFvgr+FdW5eQOFkhcwHxdCZBmO3pWNtE7YOO9G6q6FU1LWya4tzU76L/AGa9YMk+rafStdGBVT1l1Zsvz7bukeiJXkzhrANfugguMqA75Nyx9THsPOq/iWUrJckeyJ/DsV1rnl3Zs+WqssxloDX+NN+Xu+IQcrR8Q/bcAywfIgD1g1cYUo3VeFIo+IV2VWq+srjOIl7TDIpVlIzB4iRvBGh96yr4eoWc3Npr2NcuLc8HCUO/uc/xQuZiMyt5g6fWrNueyHFQ0SfL/Efyodsoa4wyhifhRd9o1M+fQVotxHc1zy6LyJFWUqU+RbbM/gdu5jcQGcllQhnY7aaqo9TGnaawy7q8el1w6NmeJVO+7nn1SOgBa5w6E9qtARHHlNtrd1Tl1yMR0J/QT5br/mFWWDJTTql1KniUZQ1dDo0SGC4mrD+0KofX4T5gn7HX71puw5wfyra/U3Y3Ea7V8z1Ihuc8fb8O29u4jNbeSqkE5SCCdOxipfDqrISfNF6aI/Ep12QSjJbTNExvGzcJM1bxsjFaRTxo0SnL3G2w1u6yf3l0BVP8CCSW9SSIHSJ7Vqto+0SXP91fqSK7vs8Xyd3+h0rkfC+HhLbEfFcm4x6nMSVn/Llqjz7Oe967Lp9C7wKuShb7vr9TYlqETT1QCgFAKAtXUDAhgCCCCDqCDuCKJ6DW+hzTnTlpsJZa7hrrCyCM1s7oGMfC3USRofmausTPdjUJrr6lFl8OhXuyHb0NBGII61ac5A5S3ex7SM05ZExvHWAdzFYTtl5GcKo+Z1TgfJ2Gs5boLXmgMjXIyiRKsqgAdjJmqC/Nts+V9C9ow6ofMupsZFQyYeStAeSlAYXEOE2sRAuoDGgOoYejDUVtqusrfyPRptprtXzrZxu9c+I7xJie06T7V0qk9dTnHFbei097tXrkFE6DyRwqxcw9u81oG5LAs0tqrkAgHQaAbCqPMvs53HfQusOivkUtdTbstQCeVyUBQpQHi7ZDAhgCDoQRII8xXqbXVHjSa0zmnOKpbvm3YUIqhcwEwWIzaCYEAjbzroMKVjq5pPuUGbGtW6iuxAeLUrmIvKT/ACTwxMXduC8CyqgYAEgSWjWP+6VBzcidcVyvuTsLHhZJ8y7HSsJg0tKEtqFUbBRAqklJye5MuoxjFaijICViZHoJQHm/hluKUcAqwgg9RWUZOL2jGUVJaZp3GuGtgENxLwZCQot3B8RJ6BhodJ3A2q6xs13vllHr6lFl8OhWuZSNRxfGGf8ASoTyA1qyUuhXxqSI8uBrA+VebS8jZ1Z0Dl7kO47K+Myrb0PhqZZvJyNFHeCT6VWZPFFrlr+pY4/DXtSs+h0tVjQaAfaqXuXXYuLQHqgFAKAUB4agIvmPA/mMLftDUtbYL/MBKf7gK20T5LIyNV8OetxPnxtN9K6Ns55ItXDpWDZkkdg/D/jSYjCW02eyiW2XyUQjDyIHsQRVJlVOE9+TLvFtU4a80bOKikk9ZaAoUoDwVigZwjitnwbtxCR8Dus/ykgH5V00Z7gmc1KDjNr3MfFWmtGLishiYYFTHfWsVZGS2mZODi9NHQfw64xb/LeE7KrIzRJAzByWBE7mSR7CqrMplz8yXctcO6KhyvyN4RZqATi4LdADboCxiHCAsxAA1JJgAeZr1RcnpHjkorbOPcyYtbmIvMjAguYI2IgCR5V0eOnGpRZzuQ1K1tdiMu2HVVZkYK2qsQQGH+E9aKyLekw65JbaN5/Cy4mW8NPELr11KBdIHkc3zFVnENtp+RZYGkmvM6CqVXFiXAlAMlAUIoDm/wCIPEM+IFsGRaUAjs7/ABH/AG5PrV5w2HLW5epScRs5rFHyRpV19amtkJImuTOCtjcUix/ZoQ9w/wCEHRfVjp8+1Rcq/wAOt+rJWNT4k16I7qoqgL49igLgoCtAKAUAoChFAW2FAcM/FDBhMdc8MQGCMwG2cj4jHnufMmrvF5nSmylyuWNzSMvlXgljHYRw6BboLqrqWBB0ZCQDB3A1GoFR8i+cLe/QkY9EJ1duprOAxVzDsTbZlJBRspiVnUSPMVZckXpyWyt55LaT0zo34bYy9d8UuzNaGULmJPx658pOsbf9mqziPhqS5Fplnw/xHFub2jflSq0sSpSgLF+3pXq6M8fY4BxS0yuW/crf7lP/ACK6WcVKKfqjm4T5ZNejOicdZb/D3Zxo1tXXyYwV+pFUeMmr1H3LvIadDl7HN7Vs5gqiSfhAGpJOwFXu1BbKPTn0R3Ll3BNaw9pLhllRQTvqBr/x7Vzls1KbkjoqouMEmSot1rNhQ26A17nPDk4Zyv7Yf2UyfpPyqXgzULk2Rc2DnS0jk1rDr+YtC4Mym4gYdwWG/lrV1lRag2ilxWnNJ9jdue2H5YIR+ply9hl1+wI96qMCDlbst8+ajUajyng2uYuytvQh1ckdFUy3z296ssmcYVPZWY8ZTtWvI7fbt1z50BdyUB5ZKA0fnnid606radkGXMMsSxBgiSOnw/OrXh1FVik5rbKviF9tbjyvSOfGzexN8KpzXbrak7SdWLRsANan2SVMN+SIFcXdPXmyV5q4Hawlm0iktfLSzmQCoU5gEmAJK+fnUPHusvm35EzIprpgvUmfwgxBW7etxOdFcnsUMAehzn5VjxCv5FL3PcCfzuJ1dRVSWx7UUB7oBQCgFAKAUB5YUBoHP3J13F3Bdw5SSoV1ckbTDAgHvEeQqxxc1VQcJIr8rDdk+eLMvk/lY4O0VdgzsxZiNgYAAE+QqLkXeLPmJNFPhQ5SFv8A4Yq10kX2FsmcuQFgCdg8x/tqSuIT5da6kZ8Pjzb30N44XwxMPbW3aXKqiAP+7moMpOT2yfGKitIkAtYnpXLQHh0oDSOL/h3av32ueK6qxLMgA3OrZW6Sdfc1NhnWRgo+hClg1ym5epsTcFtm14JQG3lyZemUCAKiKck+bzJbgnHlfYj+EcmYXDP4ltCXGxZmbLP8MnT13rbZk2WLUmaq8aut7ijYkSK0G89xQCKAtX8OHBVhIIII8jvRNp7R40mtM0vB/h3at3hcNx3VWDIhiAQZXMdzHttU6zOsnHlIdeDXCXMT/FuXrWKTJeWRMiCQQe4IqLXZKt7iyTZXGxakinAuW7GDB8FIJjMxJZjG0k9PKvbLp2PcmK6YV/dRNKtajYeooCjLQGtc48EbEWptCbiHMo79CvuPrFSsS/wbFJ9iNl0eNW4ruahydy7iPzXjXbbW1UN+rQsWEQB21mam5uVXZDlj5kLCxbIT5pEjzfyliMRcV7BQjKFIckRBJkGD3+lR8TLjTFprub8vFlbJSTJ3kblb8ijG4wa68ZiuwA2VZ9SZ6z5Vqysl3P2RtxsZUp+rNtUVFJR7oBQCgFAKAUAoBQHkrQHgrQFMtAAtAVigEUAigKEUBTLQDLQFctAIoCsUBSKAploBloBloCsUBWKARQHkrQFBboCuSgPYWgPYFAVoBQCgFAKAUAoBQCgFAUigEUAigEUAigKZaAZaAZaAZaAZaAZaAZaAZaAploCuWgGWgGWgK5aAploCuWgEUBWgFAKAUAoBQCgFAKAUAoBQCgFAKAUAoBQCgFAKAUAoBQCgFAKAUAoBQCgFAKAUAoBQCgFAKAUAoBQCgFAKAUAoBQCgFAKAUAoBQCgFAKAUAoBQCgFAKAUAoBQCgFAKAUAoBQCgFAKAUAoBQCgFAKAUAoBQCgFAKAUAoBQCgFAKAUAoBQCgFAKAUAoBQCgFAKA//9k="/>
          <p:cNvSpPr>
            <a:spLocks noChangeAspect="1" noChangeArrowheads="1"/>
          </p:cNvSpPr>
          <p:nvPr/>
        </p:nvSpPr>
        <p:spPr bwMode="auto">
          <a:xfrm>
            <a:off x="307978" y="7940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3" tIns="45708" rIns="91413" bIns="45708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sp>
        <p:nvSpPr>
          <p:cNvPr id="3" name="AutoShape 6" descr="data:image/jpeg;base64,/9j/4AAQSkZJRgABAQAAAQABAAD/2wCEAAkGBxQQEhQUEBQVFhUXFhQVFxgVGBYXGBYUFxUYFxQXFRcYHCggGh4lHRYWITEiJykrLi4uGB8zOjMsNygtLisBCgoKDg0OGxAQGzImICQyNDQ3NDI0LCwsNDQsNCwsLDQ0NCwsLCwsLDQsLCwsLCwsNCwsLCwsLCwsLCwsLCwsLP/AABEIAMIBAwMBEQACEQEDEQH/xAAcAAEAAQUBAQAAAAAAAAAAAAAABQEDBAYHAgj/xAA+EAACAQIEBAQEBAMIAQUBAAABAhEAAwQSITEFBkFRE2FxgSKRobEHFDJCUnLBIzNigpKi0fDhQ1NUk7IV/8QAGwEBAAIDAQEAAAAAAAAAAAAAAAQFAgMGAQf/xAA2EQACAgIABAQDBwQCAgMAAAAAAQIDBBEFEiExE0FRYQYikRQycYGh0fBCUrHBI+EzQwcVFv/aAAwDAQACEQMRAD8A7jQCgFAKAUAoBQCgFAKAUAoBQCgFAKAUAoBQCgFAKAUAoBQCgFAKAUAoBQCgFAKAUAoBQCgFAKAUAoBQCgFAKAUAoBQCgFAKAUAoBQCgFAKAUAoBQCgFAKAUAoBQCgFAKAUAoBQCgFAKAUAoBQCgFAKAUAoBQCgFAKAUAoBQCgFAKAUAoBQCgFAKAUAoBQCgLGPxHhW3uHXIrNHeATFZ1w55KPqYWz5IOXoc2x2MxTS7XbgnWFZlA8gAa6SqnHXyqKORnm3zltyZsP4e8dfErdt3WzNaKwx3KtMA94KnXzqp4ljwqmnDszoOHXztg1Pujb6rixFAKApQHOuPcUv3bjlLjpbV2RQjFZCkrJI3mJrocTGphBcy22v8nK5mdbK1qL0kzI5D45dfENYuuzjIXUsZKlSoIk6wc30rRxTGrhFTgtE/heTZOThJ7N+qlLsUAoBQGr85cSuJktWSVLBmZhuFWAAD0knfyqy4fRXNudi3oqOK5U6oxjDps0uzx6/h7it4rsAwzKzMwZZ1EE9utXFuJTOt/KkVOPl3RsT5mdbFcqdaVoBQCgIbmviTYezNv9bsttT2Jkkx6A1KwqY226l2XUh517ppco9zneL4niLbT493MNf1t9pj2iujhjUSj9xaOZWXc3vmZ0zl3HnEYa1dbdl1jbMDBI9xXMZFartlBdkdXjWOyqMn3ZI1pN4oBQCgFAKAUAoBQCgFAYXGWTwLvitkQoylu2YRoOp10FbaFLxI8i29mnIcFXLnelo43jeM3FEOrDoDBg+hrqPlj5HJxqjLsS34f8ft4MXTeS7musplQCAijTczuWPyqDl4duQ1KOi0xcurHTjLZ1Lh+Pt30FyywZT1HfqCNwfI1R2VyrlyyWmXddkbI80XtGTWBmKAx8djEsI1y62VRufsAOp8qzrrlZJRj3Ndtsa4uc3pHHeNcUZWYqri2zuyEjozFoMaAia6etKuKUu6RyklGycpR7NnvkfjdvD4h719bkFMilQDEsCxIJB6DbzrRmUW5EUoE3Durx5bkdfwOMS+guWmDI2xH1HkfKuenCUJcslpl/CyM480XtGRWJmKAtYnELbUu5Cqokk7AV7GLk1GK6sxnOME5SfRHM+b+YPHYXLCPlRWRmMagkEELuNj866DExZURan5nN5uTDJkuXy/U07DY4XLtvxM2QOpeBrlBkgTGp2qXOUpxah3NNcYwknLsd24VxO1ibYuWWDLt2IPZh0NcvbVOqXLNdTp6roWx5oPoZlazaKAs4vEpaRnuMFVRJJrKEJTkoxW2YTnGEXKXZHPuauZhibYFm039m4uBmKiYBB+H0Y9avcXBnRLmk11XYocvOryI8kU/wATn+J4m10mJk+v1qxU/KJCVSXVncOU3tflbS4d86IoSdjmA+LMOhnWPOuXyozVr8RabOmxZVupKD2kS9RyQKAUAoBQCgFAKAUAoDxccKCSYABJJ6AbmiTb0jxtJbZzni3ELvEr6WLPwgmVBE5LY/VeujvGir3IHc1ewhDCr5n1k/5pf7Ofdk8+3lXSCIbmewcNiGsZjcVVRgXy5viGs5QBuD0qRhXu2vma6mrKxo02csSAxvEblpCbYHoRI+VSLJNLoaYVxk/mNo4FxM4O7buWzNi94ZYdCjxDR0ZZ+hFRb4QyqW/6om/Htni3qHkzrFc4dKUdgASdABJPYDeiW2eN6Wzm3Esbd4piFs2zlWSVET4dsaNeuD+KNAO5A7mr6MY4NXM/vP8AmjnnOefdyr7iNb42rWb96yGLpbfIpaMx+EEzAA3J6VKxrZWVqUvM030xrscY+RENxDwmSdEzrnMAwmYZyAdJiaysslGL5TyuqM5al2N74feucLxWQmbNx1DDpDGEuL2/8EaxUS2MMyjn/qX80SKZzw8jw391/wC/M6XVAdCKA5zzTxZ8XfGGs6rnyKv/ALlwbs3ZVgn0E9qvsSmGNV40+7/n1Oey7p5V3gV9kafxuy2Hv3rQuF0RlWSACWyKX0GwzFgB2FSce6VkFKXmab6IVzcY+REXcXkg7CRJ7CdT8q2Tm4rcTGFak9M6DibN3hGIz2iXtsASNB4iDeQNAyzuO4PUiocJQzquWfSSJE1PAtTj1izpFm6HVWUyGAYHyIkVQtNPTOgTTWy5Xh6c25q4q+LxAsWtVDlEUfvuDRmbyGvoATXQYdMManxp92v4vzOczbrMm/wYdkzRMU7Kzw+ZM7BTtIBgH0MTUuFkpR2zROuMXqPkWcH8d6zb28S7btk9g7hSR86wttcIuSM6qlOSizf71q7wjETbl7TCSDA8RBvIGgdZ3HcHqQI0JQz6+WfSS/n0N9ingW80esX/AD6nR8PeDqrqZVgGB7giRVDKLi9MvoyUkmi5XhkKAUAoBQCgFAKAweL8VtYW2bl5oHTaSeyjrXq1vTevxMo12T/8cXJ+i6mice54TEL4dthbRyA7FXdgvU5QBp5TrUqm7FpfO58zXb0PLODcVylyKlxi+7bWzK5c5h4ZhAVt3LhdyM9x7dws56SQugE6AaD61FtzfHnuTJ0Ph3Jxq21Dou/VEP8AiwhS5YxNvVLtvJI2lZZT7q5+VWvD7WouH5nN8Qq3JSNBuXnuLMaGYJ6wYMe9bb+IVVPlmzbgcDy8yLnTHaXvonuAY1FwptYhgGt3FazoxlGM3EJA0AYZh/M3eolfEqFPv0a0/wBywv8AhfiPhpqvcova6r6HSOFc8JfYjIAqhiSLiFiQNAlow7SdNBUSSo18liZ5KjOq630uK+pa41xu9ibZt4e0yK8Kz3NGCEwxCGOnnPStVfE+G48uedybXZLfch215d65I1tJ929Gdy7hcPgkIQszsQXuMPicjbbYDoBt661Av+Isa6W5S/Rk6jhzpjyxRyjnjHhcdiDbYMjMGBHcqMw9mDD2rqcK/mojJdijy6v+aWyLscMxOL+G3abVVf4oQFHEowzkZgRsRNas3ilGNDntlpGVGFZZLUUdSfCG9gbC3hGJtIq6GQ2UwAW2MgK3kfeqTH+I8Ku5/N8r9mWOTwu6ypdPmj2JrA8xXXuKj4fKv7rhuIFHmAdT7VkszAn/AOO5N+nme1rK389el+Jh8U52UZ0w6MzCQHbRZGkj+IVIjLFg/wDmtS9l1ZXZXFY1txiuvuRvKeJwmFHi3XdsQ6jMShIQHUokdJ3PUj0FYZnGarpcqfyrsaMPMw6Y7b+Z9+jOec2YxhibzfsuXbjoe6liRpuNCNDVthZldlKcH0R5Lluk7I9myHu2rtxza8NhcEhlYZSsb5g0RvW63JjGHPJ9B4fJtvyOzXeM4bEYW3avswuC2kkIzZboQBo7iZB7g1z1fFaqreaLNt2fiXVck3+j7mPwvm9rNu3ZFkPlAVW8RbYyrouYvptHr2qVPIwbZOcbdb8tGvG4pyxVb106b3oz+Mc+W7LG2iFnABn/ANOSJ0cD4hr0qViYDyFzKXT2J1+f4a1Fb/wa9wHi2FsW7t53Y4u4twD4GypMwqkaamCTPbarHKxMm2ShFfIvch4t1FUXJv5n/s59ct3ohULBRJyjMQAJJIGsAazW67mq1z9NmiuKn2KcuXDcxmGA6XrTHyVHDsfYKTUa6zcGSKa/nR2DjfM+AxCG29x5BlWFt5RxIkSPUEdQSKjY+Blxasgv1RJyMrGsi65v9GRXC+eBh0FoILqqSqHN4fwzpOfQDt5QKlX8LlY/E7N91rZEx8+VUfD0ml2fbob3wfiS4i2HUpP7gjrcyt/CWXrVJbVKuXK0/wA1ouarFZHa/TqZ1azaKAUAoBQCgFAcT5y4u2MxTkSbdslEA1AUGGb3In0jtVffNyk0vI+gcHxYYuOm/vS6v/SNfitBcl/BA5wchcAgsqgyVnUaAx2mtlUuWW9EHiNMb8eVUpcu/M2znbjS47D2bdmxfQo8w1uFC5CsKVnuOgq2xc6FTbkn1RwuV8OXW6UbId/7jTBh2tqqMGH6iMwI3OsA9NBUDMyHdPma0ddwPhteDQ4RnzN92ikVFLtvRcskqwOoI1Htsa2Vr5kmis4pyTw7Ovl/g66NQK4OaSk0jkovoCKxXR7PTR+YORb1+5NooEItqZzBgFUKzaKQSYLdNTX0LE+Ja40KNlck16La/wBHP38MnK3njJaN4xeHQujqhTJb8IeaCMoI8tY/mNc/xbissivwowajve2WmPjqEubfXR5iucJwNZqM0uZJmO12NKNnIzoNld1H8s/CPYED2rqbpc8YWf3RTZ8447Sq8t68wRWgp9lixw5HxVi7czMltgxtqJLFdVjX+ILPkKucHifg1Olx3+Ba4Oaq+WM02l20ZHMuGF7HfmbQa2rIuYMsM7AFW02ggJ8qlWcXiqPDUXv3JWVxGPM3CLW15rR4iucKHZUCvUm/I9032I/iNuCD3+4/8fauw+FcqSm6X2ZaY7c8dxfeL/RmHXdmBLcvYx8O7Otk3FdGtsMpOjbwwB1qvz6K74qLkk0S8S2dT2o7TMDkq2MJifEvW2u5bbqqIJOcwpLA7DLmHXeoeRgznDSkkvXZvoyYQnvTfsMapzlmQoGJIBBGnYSBMaVaYkYwrUIy3oh5EnOxzktbLFSDSTvJ/FWwmJSZCXCEcHsT8LexPymq3iVEb6W13j1JuFdKq1J9n0Ox1yJ0goBQCgFAKAtYi+ttS9xgqqJZmIAA7kmvN6MoQlNqMVtshcLw7DW1a4t2EOsrcCIB/kgfOveZa2ZyhbKXLJNv89nI+PPabEXTh/7vN8J7iNT7marLmpTbR9E4XVbViwhb3PXBuOXcEXewVBZQCWXNoDOnavIWSh2M8zAqy0o276enQ6jzHxm9heHpdlfHIsgkjTO0F/h9mqdZNxhvzOJwMOrJzXV15Ov46XY5bxvjV3GMr3yCVGUZRlETO1QJ2Sm+p2+Hg1YkXGrz9epIclWka+Q++VoB2JEHX2mo2X4zof2f73t317FNx52bgnvk8/TfubhdxmGuFbTPbbUZVkEAgiAvbUjQVURhxSFUpbetebTevbzOf0kt6evz0SNUmzaiqLJA8x962UR3bFe6En8rJ3G3MsfHk9pmu7z7o1Rjuzk/Leyrqi5PtsisfezQPEzjfaINcxxPJVkYxVvOvw1om0Q02+XRGY8Obb+F+vK2X+aNKrsXw1dHxPu7WzdZvlejV7Vu5bZSMwuEBpJlyCOpOvsfSurs8bmen8v4rl1/g+fXVcR+0PSlvfl2LLJlJB3kltZOY6mfPXbpUa9T2uf06emiBnLIVusj7wrSQzbeRsB+u+w2lU+7kfQfOrfh1XexnQ8DxtKV7Xsv9/sZ3FcG+NwoZ7ZS8mYhSNdNwPIiPet99Tvp21qSJmVRLLxtuOprt/Pc0OqI5Ew8XYc5mUnKAsjMBuSNFnXWPmK7D4auxIJxs1v3LnGlvHUa3qSfX19jHfD3CsnYDqwmPIT9N66Wu/h6yEoNc/sbNXOLX7bMarcinSPw+xhGCvZRLW3cgdxkDAe5zVzHF619pj7pfsX3DpvwH7Ehw3hiDFnG2iPCu2M3o5Kkn3An1mo92RPwFjT7xZuqpj4rvj2aIbnpvzOBw2JHdSfIXE1H+oCpnCt05U6n/NEXPfiUQsX83/2aZwY2hft/mJ8PN8RG4HQ6dJirfPrnZRKNfcrsScIWpz7HTr3BcEUD51CCDm8QFSBru0/SuRirk+Vb3+Z0bdTW3o2HD31uKGRgysJBUyCO4IrVKLi9PubVJNbRcrw9FAKAUAoDUvxOcjAtGxuWwfSZ+4Fab/uMuOBJPNjv3/wcms4N3/RbZv5UZvsKgcrfY7ud1UOspJfi0ZQ4NiP/AI97/wCt/wDivfDl6Gl5+Kv/AGR+qMa7Za2wFxGU6HK4KyPQ9Kx049zfGyFsXyS37rqTnMXNd7Hott7aqFbP8GYkmCNZPnW6dsrOmirwuF0YEnbz91rroh7fDrzfptXD6Ix/pWvwp+hM/wDsMXt4kfqjxewVxf123Uf4kYfcVi4yXkbo5FNnSMk/zRJ8oYTxcQp/anxk+mo+sVHzLfCx5y830X5/9FHx66PLCheb3+SOiPiEG7qPVhXJwxL5fdg3+TOe8WK8yuHxSlhkZWIIMAg7eQrfDFyqZKx1vo99n5HjshJa2STcTY7qp9Qf+asZcftl96uLNaxYrzZh47iAIGfInXoPuaj5F1+dBKNXb+1MyioVPrIxBjLZ2uJ/qX/mobwcmP8A65fRmzxoeqLqsDsRWlwmvlaZmmn1RpXieIzuNnd2HpMKfkBXU21SjGFSW3GK+p8845N25bUV2BrBYtz7Qf0KtY9r/pf0Jm1zJdWyLNsKgAAzLObeSZmJOvzqTLIvqrUOXl+pYvPyKaVUocuum+uymA5lv2iSW8SREXCTHmINYVZtsH6/ia8fiuRW+r5vxI3G387s5ULmMkCQATvE+etYzousk5qD6+xGurtum58jW/RMsVqdFke8WjU6bY9eVmPjv0+4+hn+lWHB4Sllx0TOGJ+M5PyTI1bTHZT8jX1N2wXdo2KEn2TJjl/jt7BC4LdtWFzLIcN0naCO9V+XVjZLi5Waa9GiZj2XUJpR3v8AE98M5pvYew2HVVKnOAWzZkDjULB7kn3rK3h1V9it36dtddHleZZVB16/jLa8euthPymRWQfuhi4+PONjGh02rKWJVDI+0OWn+Wu2jGORZKnwUtoiPAb+E/I1KWTS/wCpfVGjwbP7WeGtRuI9q2KcX2Zg4SXdHV/w5YnBJPR7gHpmn7k1yPFNfaZaOj4fvwI7NoqvJooBQCgFAaxzjjxAsjcwzHtB+GPOq7Oy3UlGPdlLxXiU8bUKnqXr6I1RyTuWPqSfuap5ZV0v6mc1POyZvcpv6lvwh2HyrDxZt/eZp8ez+5/U1/iNi9dYt4bsoJUZVZgI3BiY9/WruUZcsUuq1+J9w+Fp4tOEtWJyffb/AHKcJwzhxK6HQg9u5Hb+sVjLdVcnLp0/MhfGXEcV4TrjP5vLTJ3wV/hX5CqfxZ+r+p8d8azvzP6nsXPDBKkrGvwkr9q213XuSjGT6kijKyXNRhN7fuaxjuIXLjsSxEwDGkxtMbxO5q3nbJPSfY+48K4NWseE8lc02vMwzrvWl2TfmXccPHj2gvojI4Yv9qnxFfiX4gcpGo1B6etZQlLfR9ddPxIHFqYxxZOEFv8ABdF5s6uzqnwlgIHUjbpvXG2YuS7HzQe2/T+I5NWQS7nOebblt8QxtnNtJBkZoEwfl7zXVYkbasWELOjW+nt5F5wKpTdk5RTi9abX86EJlrcpy9TonjUy7wX0Rds4p0/SxHQwdx1FZq2Xn1/EhX8HxLYv5En6roZhaQNTECBJIAGmk+ld3w6qiyiM1FHxriKux8mdbfZnjKOwqyVNa/pX0K92zf8AUzP4QhJfKYGWSJAmCOh/VHb1rlPiamxwSrj0N0vEtxpRh1e+q9vYzTEGdus7fOuLppu51yxeyuppuVicYvaINwJ0FfWcWtOmLnFJ69CwvnJWPT/UoBW149T7xX0NausX9TMrh19VuKbksoOoltAdCRB7VR8Y4avs8p4/yzXmix4flf8AMlZ1TN+TA2ultPXKD9TXxy3MyZNqc3v8WdrGqtLokXDhk/gX/SK0+Pb/AHP6sz5I+honGMK6N8QG7hVESoDkwFGy/FI6QfWvs3w5m488SKUuvucXxbHt8bm5eh74CrLeSbeYMcpDLOnUie3etXxU6J4Mm56ku2me8GVsb+kej7m8HDId0X/SK+PePb/c/qdpyR9Czc4ZZO9tPYZfqsVJp4jlVv5LGvzNU6KpLrFG0cv4MWcPbRf4c3fVviP1NfQYylKKcntlRypdESNegUAoBQCgNFxWEe7iLsrdPxHVElY/aMzFRoIqsu4c7bHOUjnr+D2ZF8rJy1v8yPxeGNtypDDtmEGPST96q8rGePJRb3so87Cli2cje9kzyvw63eFzxVzEFY1I0M9j5VL4fRXbGXOt6LLg2JTfGXiLei5wTgNtw731BBYqgJI0BI9529qlYWPy8zb6b6E3hmFyqUpt6baS2+2yuE5et/mri5ALShSFEgSwEaj0Y/KsViKeRLm6xR5HhsbMyfOtxS/z/GQHFcniuLQhAco3MxoTr3M1V5Lh4jUF0RQZzq8aSqWoroR2KtllIHWPlIn6VliTjC1Sl2NnDLa6sqE7OyZEWOBkxneB1IWY8wJE/SpzuoT1zfp0PqFv/wAg4kJ8tdba9f5/2RuKs5HZZDQSARIBHeDqPSs5R5WdxhZleXRG6vszYeS+Vfz7M1xitpCAcv6mbfKCdtIk+YrbTVz9WV/GOKfY0oQW5P6JEulvg5vfl/Duk5vD8TM+TPOWM2ed9JiK3qde+VN/qUs8biDr+1NR9dajvX01/sied+VxgWRrbE2nkDN+pWGsT1EbehrRfVyPaLng3E3lxcJrUo+nZo1lVkx/36VphBykootcjIhj1Stn2RkjBqTGcgdyv3AJ/rV//wDnr+TmT6+hxS+OqPE5XW+X13/0e1EADtpXR8Kxp0Y6hPucNxvLry8yd1fZg1ZlSb3ydy3hsThfEvWyz5nBh3Gg2EAgVz3Ec2+u/wAOL6dPJfsXODi1WVc8l16+bLvBeA4HF5wuFxFkqAczl1mf4TmIJ07Vouuuxmpc0Xv0S/Y21V1ZG1yyWvVv9zS+NYEYe/dtBswRoB7iARPnrB8wa6HFudtUbGtbKa+tV2OK8jGw1k3HVBMsYEamfcj71qz86vCpd1nZGeLjSyLFCJLYjlm8uq5W8lOv1iuVr+NsG7cZpxXuXEuA3Q1KLTNv4fbZbVtX/UEUH1AE18uy5wnfOUOzZ1lSaiky/UczJK/wm3dsg+GGaAYPxa6TodO9dZDh8Hhq3H2pteTZXO5+Jyz7C3wqzh7clAD1yDLJ6DSs7cKmnH58tuT/ABf0PI2ylPVfQjmMnQR5dq5OyUZSbitL0LGKaXU81gekxhOJqltQZJACwB2ETJ0rtKuN4ypTk+uu2isliz5unYzMJxBbhgSD2P8ASpuHxGnL2ob2vJmqymVfcy6nmoUAoDG4jixZts5Ex07k6AVrtsVcHJ+Royb1RW7H5EKnNSR8Vtwewgj5kj7VBXE6tdUyqjx6jl6p7Ne4njTfuF2EaQB2A++5qpych3z5mc7nZksq3na0vIleUcQqNczMFBC7kDqe9TeGTjFyUnotOA3Qg5qT127nvjfFh41pLZGRHRjGxMjb0E/OtmVlrxYRi+ifU3Z/EI/aK6630i02SfGuKolpjbdS7fCMpBOvXTsJqVlZMIVNxfUsc/OrqolKDTbNFIrnDijE4hi/CWYmfOKmYlEbG3Psi74Bwj/7PJVLekYt7jtvdEf0Yg/7gNR7VJ+yU73t/gdbL/49u8XpYuX9SAuOWJJrdOXMz6bgYcMOiNMOyN7/AAz49asrcsXmCFnzozGFaVClZ6HT61Jx7ElysoPiHAtsmrq1ta0/Yu4bkZLeIF58VbNlbniAaAkBsygtmjeNesbCdMlQlLm2a7OOTsx3TGp8zWv9PpojvxG5ht4prdqwQyWyWLjYsRACnqAJ18615Fik9ImcA4fZjxlZYtOXl56NPtPlYGJg7d/KtNVjrkpLyLjNxY5VEqZeZmXsTbzEoHyz8KkiQOxYDX5V0/8A+k1D7vU+eL4GvdmnNcp6ZlMFQRoJBM/FGsabVd8Ny5ZVPPLucrxbBWFkypT3o8GrErDpX4b4pFwrBnVT4r6EgaZU7+9cxxiuTyE0vJf7L7hs4qnTfmU5U5o/MB7GKcBxmyuDkzLMESIhh5bj0rzNwHTy2VLp6d9P9j3FzPE3XY+ppPMnDPy15lVw6NLI8hiQTqGI/cDv3361e4OR41SbWmu6KjKp8Kxre0zE4biRZupcK5gpmJiem/SseI4MM2h0z8z3EyZY9imiduc3HL8NsBvNpA9o1rhavgL5/wDks+U6CfxDHl+WPUneE48Yi2HAI1yme4An71xnGOHrBypUxfQvcO/x6lMzKqiSTvCr48IAkSCRqQOsj712nB8mP2NKTW1vzKzJg/ELWDx4uSt2NZjtHatGFxSOU5U5Guvb0/AytocNSgYGNwwQ/CQVO0EGPI1R8Rwljz3B7i+3X9CXTbzrqupjVXG4ttYvux8AIQoUkMSGMlpy9Nh3G9X/AAnhtGXVJ2N7T8iHk3zrkuUkOD4S8bitcTIqySSQSxIIAAHTWZ8qusHhEMWzxFJsjWZDsjpo2OrcjigFAQ/NImwf5lmouYm6JFdxZN4ste3+TSjXNHDs8uwG5j1rbVRZdLlri2/bqEtlqxcW5cCG6ltTqXb1/SoMCfWr7C4LdGLstrZd8LxseT5rn18kzZsJy+toQL146a5mVgfPKVjWpbjF9GkdOserWlFaIPHW8txgI0MaCBtrp01mubzYQhc1A4ziVVdeRKNfYxzUQgkbxu0WQR3P2n+lWfD+vNH1R13wbkxpz05dEzX2sEfqhf5iq/c1OjjWvsj65ZxrBr72L8uv+C8OHP2Hz/4rL7JZ7EZ/EeGu2/oU/wD5r9hFTaODZFq3tJe5XZXxtw6h6SlJ+y/dmPewuTcD2r3L4Nfjw8To17G3hfxdhZ1yqScZPtvWn9C6MG3+Ef5h/SoEcSxon2/EOFB623r0RRsIR1T/AFL/AFNe/YrPIxXxJg+ba/L9jycM8TlJHcaj5itbxrV5EyvjGFYtxsX+DJyZVGYhRH7iF8+prteHW04+NGMpdT5DxV25eXOxLuz0Lc7Mv+oH7VLfFMdeZCWBc/I9LhGb9ImATpB0Ak/QVlXxLHm9JmE8K2K20U/KtGo+dS+eJB50Ut4ckwIrTfl10pOfmSaKZXdIHu5hGUSYA7kgfetC4pjvzJDwLl5FsWiRIEj/AAkN9q3xzaJdpGmWNavI3TlK1lw4J/czt7TA/wDzXxn4muVvEJNeR3XDoclCRMVz5PLN60zlVVsgJMkRMRoBO3r5VdcDppsvasW+nREXLlKMPlD8tIxkXbwYdc89Z1Ea12jhBrlcVr8Cq0972V/u2Ntt1VSWJ/VJaDrqNANO81yfGuHRqlGyqPR90kWOLkbTUn2Llc81roycZGAxHhuCdtj6Hr7QD86tuDZfgX8r7S6fsRsqvnhv0NnWu5KorQCgFAYXFlc2mFtczdBmydejd/lWcFFvU+xrt5+V8i2/c53xpcbaUv4ZBmAtxLLgk7RcBP1IqXHAwrt+b7lFdCxSXi1R0+mzLv4dVZxdZSyHJKrlBIGpCyY1nr0qTg48aYLwo631KzNrhC9xgtJGrcbuKJiruG1HbNdcTe+ScQ1zA2S8kw6g91V2VfoAPauXzYqN0tHXYTbpWzDxXL98uSt+3lnQGzBjsWV4J84quli0N7cDTPhmPOXM49yE4th7ltxbS5ncqSRbtl2GvadPcdRVhjcLxXB2Tikiuvxqa7FCmtSZf4Twq65jEW3CwfjdkX4v2/2akk6+YrKyvGq/8T37a0T8WqxbTrUfddyzxDlEsCz+G2UEgqGRhGsgSZ+dTKcyjajyaNF+HkJOSnvRsXC7hNlCxzMFAYgRLgQ2nqDVfdXy3OLXmWOPap0qafka/i8XbCLqMxEn1Opro6q5J+xx0k5Sbfmavj7wYwOpA+tbcpp0yXsT+Hf8eRCb8mjoHAFP5e1mEHL2iRJg+4g1x6TS0zrrpRnZKUF0beiN5lYXilhBnckkqDEQN2boBJq2wYKqLusXQps6btkqan18yxwvlp0hXNpbcklUzMxncZzlI6Vqycmme+SHX1NuPjXQ1zT6ehTiPKfiHQWinRWVlI/zgmfWKyozKoR04dfUwvwrZy3Gz8iU4EPDXwmMlCQJ3CCABPWO/aK1ZkE34kF8rNmDa9Oqf3kXOOL/AGR1jVZ0nTMJHlWOFrx47NmdvwJaIPi95BoCNq6OhS7s5BRZjcsXZxQj+F59IH9YqNxWSdH5otuFRau/In+aingFXO5WBrLQwJAjWqnh0G7d66Lv6FrxGaVOt9X29SJ4fyzeUHL4VpWIJBBuNt10AB9DW/IysaT6Q3+hox8XJius9fqXuY7T2Aow3iqY/UEZlH+n+tRKMPHyU3dr89G/IyLaWlXFtFOAHFX1YHEAONQTblSD/nmQdx5jvUXM4Hh16lyJp+mzZicQtt3HbTXqTeE4NiM6tdxWZRBKLaCSQQR8WYkDyqJXgYtb5oVpMmuyx9JSbRmcxYxraIqGGuNlkbhQJMeew96ucCmM5ty7JFXxO+VVXy92aXxLChTrqfPWujpkmuhy23J9TK4J49y3fWxcIa1bNxFy5828qJOmw771z/F+E4U7o2yrW30b/wBnRcLzL1XKCk+nVGPwfijhz+de5eBHwph95nrESIn3o+B0VRThyr8TKvitk5NOLf4HV+D3xcsoy23tiICXBlZQNBInyqBZDkk473+BZ1z54p60ZtYGwUAoBQGv86pOEuGJAyk/y5hm+hNTOHtK9b/myBxODljy136P6HMOYL11mFxMzh1UtlBJFwABjp0MZvcjpV7U5VR5Gu3b8Chm67Zc2+r7/ia9cuXH0CtPmCI9ZrPnlLsjNQjE6jwvmHCYbD27aO58NAIyMCTux1GWSZO/WqefDsmybbXcto8Qx660k+3sQPFudnYHJFtfLVvdunsKn1cOoq6ze3+hBu4hfb0h8q/UneTOFtatG7eB8W8QxB3VP2KZ66kn18qqs/I8WzS7ItMHH8Kvb7snitQSceGSd9q9T0eNbWmanw3HtYuPZYfEN1Jy5o0DqYO4ir22iGTBWRZzlWRZhTlXJbWzUeN4R0clSuUklVzSyg9Dp0qZFz5Uu5HUoTbetFvgr+FdW5eQOFkhcwHxdCZBmO3pWNtE7YOO9G6q6FU1LWya4tzU76L/AGa9YMk+rafStdGBVT1l1Zsvz7bukeiJXkzhrANfugguMqA75Nyx9THsPOq/iWUrJckeyJ/DsV1rnl3Zs+WqssxloDX+NN+Xu+IQcrR8Q/bcAywfIgD1g1cYUo3VeFIo+IV2VWq+srjOIl7TDIpVlIzB4iRvBGh96yr4eoWc3Npr2NcuLc8HCUO/uc/xQuZiMyt5g6fWrNueyHFQ0SfL/Efyodsoa4wyhifhRd9o1M+fQVotxHc1zy6LyJFWUqU+RbbM/gdu5jcQGcllQhnY7aaqo9TGnaawy7q8el1w6NmeJVO+7nn1SOgBa5w6E9qtARHHlNtrd1Tl1yMR0J/QT5br/mFWWDJTTql1KniUZQ1dDo0SGC4mrD+0KofX4T5gn7HX71puw5wfyra/U3Y3Ea7V8z1Ihuc8fb8O29u4jNbeSqkE5SCCdOxipfDqrISfNF6aI/Ep12QSjJbTNExvGzcJM1bxsjFaRTxo0SnL3G2w1u6yf3l0BVP8CCSW9SSIHSJ7Vqto+0SXP91fqSK7vs8Xyd3+h0rkfC+HhLbEfFcm4x6nMSVn/Llqjz7Oe967Lp9C7wKuShb7vr9TYlqETT1QCgFAKAtXUDAhgCCCCDqCDuCKJ6DW+hzTnTlpsJZa7hrrCyCM1s7oGMfC3USRofmausTPdjUJrr6lFl8OhXuyHb0NBGII61ac5A5S3ex7SM05ZExvHWAdzFYTtl5GcKo+Z1TgfJ2Gs5boLXmgMjXIyiRKsqgAdjJmqC/Nts+V9C9ow6ofMupsZFQyYeStAeSlAYXEOE2sRAuoDGgOoYejDUVtqusrfyPRptprtXzrZxu9c+I7xJie06T7V0qk9dTnHFbei097tXrkFE6DyRwqxcw9u81oG5LAs0tqrkAgHQaAbCqPMvs53HfQusOivkUtdTbstQCeVyUBQpQHi7ZDAhgCDoQRII8xXqbXVHjSa0zmnOKpbvm3YUIqhcwEwWIzaCYEAjbzroMKVjq5pPuUGbGtW6iuxAeLUrmIvKT/ACTwxMXduC8CyqgYAEgSWjWP+6VBzcidcVyvuTsLHhZJ8y7HSsJg0tKEtqFUbBRAqklJye5MuoxjFaijICViZHoJQHm/hluKUcAqwgg9RWUZOL2jGUVJaZp3GuGtgENxLwZCQot3B8RJ6BhodJ3A2q6xs13vllHr6lFl8OhWuZSNRxfGGf8ASoTyA1qyUuhXxqSI8uBrA+VebS8jZ1Z0Dl7kO47K+Myrb0PhqZZvJyNFHeCT6VWZPFFrlr+pY4/DXtSs+h0tVjQaAfaqXuXXYuLQHqgFAKAUB4agIvmPA/mMLftDUtbYL/MBKf7gK20T5LIyNV8OetxPnxtN9K6Ns55ItXDpWDZkkdg/D/jSYjCW02eyiW2XyUQjDyIHsQRVJlVOE9+TLvFtU4a80bOKikk9ZaAoUoDwVigZwjitnwbtxCR8Dus/ykgH5V00Z7gmc1KDjNr3MfFWmtGLishiYYFTHfWsVZGS2mZODi9NHQfw64xb/LeE7KrIzRJAzByWBE7mSR7CqrMplz8yXctcO6KhyvyN4RZqATi4LdADboCxiHCAsxAA1JJgAeZr1RcnpHjkorbOPcyYtbmIvMjAguYI2IgCR5V0eOnGpRZzuQ1K1tdiMu2HVVZkYK2qsQQGH+E9aKyLekw65JbaN5/Cy4mW8NPELr11KBdIHkc3zFVnENtp+RZYGkmvM6CqVXFiXAlAMlAUIoDm/wCIPEM+IFsGRaUAjs7/ABH/AG5PrV5w2HLW5epScRs5rFHyRpV19amtkJImuTOCtjcUix/ZoQ9w/wCEHRfVjp8+1Rcq/wAOt+rJWNT4k16I7qoqgL49igLgoCtAKAUAoChFAW2FAcM/FDBhMdc8MQGCMwG2cj4jHnufMmrvF5nSmylyuWNzSMvlXgljHYRw6BboLqrqWBB0ZCQDB3A1GoFR8i+cLe/QkY9EJ1duprOAxVzDsTbZlJBRspiVnUSPMVZckXpyWyt55LaT0zo34bYy9d8UuzNaGULmJPx658pOsbf9mqziPhqS5Fplnw/xHFub2jflSq0sSpSgLF+3pXq6M8fY4BxS0yuW/crf7lP/ACK6WcVKKfqjm4T5ZNejOicdZb/D3Zxo1tXXyYwV+pFUeMmr1H3LvIadDl7HN7Vs5gqiSfhAGpJOwFXu1BbKPTn0R3Ll3BNaw9pLhllRQTvqBr/x7Vzls1KbkjoqouMEmSot1rNhQ26A17nPDk4Zyv7Yf2UyfpPyqXgzULk2Rc2DnS0jk1rDr+YtC4Mym4gYdwWG/lrV1lRag2ilxWnNJ9jdue2H5YIR+ply9hl1+wI96qMCDlbst8+ajUajyng2uYuytvQh1ckdFUy3z296ssmcYVPZWY8ZTtWvI7fbt1z50BdyUB5ZKA0fnnid606radkGXMMsSxBgiSOnw/OrXh1FVik5rbKviF9tbjyvSOfGzexN8KpzXbrak7SdWLRsANan2SVMN+SIFcXdPXmyV5q4Hawlm0iktfLSzmQCoU5gEmAJK+fnUPHusvm35EzIprpgvUmfwgxBW7etxOdFcnsUMAehzn5VjxCv5FL3PcCfzuJ1dRVSWx7UUB7oBQCgFAKAUB5YUBoHP3J13F3Bdw5SSoV1ckbTDAgHvEeQqxxc1VQcJIr8rDdk+eLMvk/lY4O0VdgzsxZiNgYAAE+QqLkXeLPmJNFPhQ5SFv8A4Yq10kX2FsmcuQFgCdg8x/tqSuIT5da6kZ8Pjzb30N44XwxMPbW3aXKqiAP+7moMpOT2yfGKitIkAtYnpXLQHh0oDSOL/h3av32ueK6qxLMgA3OrZW6Sdfc1NhnWRgo+hClg1ym5epsTcFtm14JQG3lyZemUCAKiKck+bzJbgnHlfYj+EcmYXDP4ltCXGxZmbLP8MnT13rbZk2WLUmaq8aut7ijYkSK0G89xQCKAtX8OHBVhIIII8jvRNp7R40mtM0vB/h3at3hcNx3VWDIhiAQZXMdzHttU6zOsnHlIdeDXCXMT/FuXrWKTJeWRMiCQQe4IqLXZKt7iyTZXGxakinAuW7GDB8FIJjMxJZjG0k9PKvbLp2PcmK6YV/dRNKtajYeooCjLQGtc48EbEWptCbiHMo79CvuPrFSsS/wbFJ9iNl0eNW4ruahydy7iPzXjXbbW1UN+rQsWEQB21mam5uVXZDlj5kLCxbIT5pEjzfyliMRcV7BQjKFIckRBJkGD3+lR8TLjTFprub8vFlbJSTJ3kblb8ijG4wa68ZiuwA2VZ9SZ6z5Vqysl3P2RtxsZUp+rNtUVFJR7oBQCgFAKAUAoBQHkrQHgrQFMtAAtAVigEUAigKEUBTLQDLQFctAIoCsUBSKAploBloBloCsUBWKARQHkrQFBboCuSgPYWgPYFAVoBQCgFAKAUAoBQCgFAUigEUAigEUAigKZaAZaAZaAZaAZaAZaAZaAZaAploCuWgGWgGWgK5aAploCuWgEUBWgFAKAUAoBQCgFAKAUAoBQCgFAKAUAoBQCgFAKAUAoBQCgFAKAUAoBQCgFAKAUAoBQCgFAKAUAoBQCgFAKAUAoBQCgFAKAUAoBQCgFAKAUAoBQCgFAKAUAoBQCgFAKAUAoBQCgFAKAUAoBQCgFAKAUAoBQCgFAKAUAoBQCgFAKAUAoBQCgFAKAUAoBQCgFAKA//9k="/>
          <p:cNvSpPr>
            <a:spLocks noChangeAspect="1" noChangeArrowheads="1"/>
          </p:cNvSpPr>
          <p:nvPr/>
        </p:nvSpPr>
        <p:spPr bwMode="auto">
          <a:xfrm>
            <a:off x="460375" y="160340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3" tIns="45708" rIns="91413" bIns="45708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pic>
        <p:nvPicPr>
          <p:cNvPr id="56328" name="Picture 8" descr="http://socialearth.org/wp-content/uploads/2012/09/are-you-a-detroit-real-estate-investor-lets-start-working-together-300x28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0342" y="3527274"/>
            <a:ext cx="2688783" cy="251849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30" name="Picture 10" descr="http://www.curver.com/assets/images/wysiwyg/Design%20and%20innovation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450" y="3963039"/>
            <a:ext cx="2419086" cy="241908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3306322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86206" y="507706"/>
            <a:ext cx="7373201" cy="569387"/>
          </a:xfrm>
        </p:spPr>
        <p:txBody>
          <a:bodyPr/>
          <a:lstStyle/>
          <a:p>
            <a:r>
              <a:rPr lang="en-GB" dirty="0" smtClean="0"/>
              <a:t>Communication with users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96330" y="1557586"/>
            <a:ext cx="4680520" cy="4874434"/>
          </a:xfrm>
        </p:spPr>
        <p:txBody>
          <a:bodyPr>
            <a:noAutofit/>
          </a:bodyPr>
          <a:lstStyle/>
          <a:p>
            <a:pPr marL="971245" lvl="1" indent="-514194">
              <a:buFont typeface="+mj-lt"/>
              <a:buAutoNum type="arabicPeriod"/>
            </a:pPr>
            <a:r>
              <a:rPr lang="en-GB" sz="2800" dirty="0"/>
              <a:t>“The Climate Watch”:     A three-level phone and e-mail service</a:t>
            </a:r>
          </a:p>
          <a:p>
            <a:pPr marL="971245" lvl="1" indent="-514194">
              <a:buFont typeface="+mj-lt"/>
              <a:buAutoNum type="arabicPeriod"/>
            </a:pPr>
            <a:r>
              <a:rPr lang="en-GB" sz="2800" dirty="0"/>
              <a:t>Seminars/ meetings focused on specific user groups</a:t>
            </a:r>
          </a:p>
          <a:p>
            <a:pPr marL="971245" lvl="1" indent="-514194">
              <a:buFont typeface="+mj-lt"/>
              <a:buAutoNum type="arabicPeriod"/>
            </a:pPr>
            <a:r>
              <a:rPr lang="en-GB" sz="2800" dirty="0" smtClean="0"/>
              <a:t>NCCS web-site: </a:t>
            </a:r>
            <a:endParaRPr lang="en-GB" sz="2800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13</a:t>
            </a:fld>
            <a:endParaRPr lang="nb-NO"/>
          </a:p>
        </p:txBody>
      </p:sp>
      <p:pic>
        <p:nvPicPr>
          <p:cNvPr id="9" name="Content Placeholder 3" descr="bilde_meteorologer.jpg"/>
          <p:cNvPicPr>
            <a:picLocks noChangeAspect="1"/>
          </p:cNvPicPr>
          <p:nvPr/>
        </p:nvPicPr>
        <p:blipFill rotWithShape="1">
          <a:blip r:embed="rId2" cstate="print"/>
          <a:srcRect r="7980"/>
          <a:stretch/>
        </p:blipFill>
        <p:spPr>
          <a:xfrm>
            <a:off x="4958157" y="1272636"/>
            <a:ext cx="3708566" cy="226941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0" name="Picture 4" descr="phon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723051" y="837509"/>
            <a:ext cx="1072711" cy="1051318"/>
          </a:xfrm>
          <a:prstGeom prst="rect">
            <a:avLst/>
          </a:prstGeom>
        </p:spPr>
      </p:pic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4958157" y="3114049"/>
            <a:ext cx="2329398" cy="405458"/>
          </a:xfrm>
          <a:prstGeom prst="rect">
            <a:avLst/>
          </a:prstGeom>
          <a:solidFill>
            <a:srgbClr val="FFC000"/>
          </a:solidFill>
          <a:ln w="38100">
            <a:noFill/>
          </a:ln>
          <a:extLst/>
        </p:spPr>
        <p:txBody>
          <a:bodyPr lIns="91422" tIns="45713" rIns="91422" bIns="45713" anchor="ctr"/>
          <a:lstStyle/>
          <a:p>
            <a:pPr algn="ctr" eaLnBrk="0" hangingPunct="0">
              <a:defRPr/>
            </a:pPr>
            <a:r>
              <a:rPr lang="nb-NO" sz="2400" b="1" dirty="0"/>
              <a:t>klima@met.no</a:t>
            </a:r>
          </a:p>
        </p:txBody>
      </p:sp>
      <p:pic>
        <p:nvPicPr>
          <p:cNvPr id="12" name="Content Placeholder 3" descr="klimaforsker_foredrag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58157" y="3645817"/>
            <a:ext cx="3701598" cy="2381425"/>
          </a:xfrm>
          <a:prstGeom prst="rect">
            <a:avLst/>
          </a:prstGeom>
        </p:spPr>
      </p:pic>
      <p:sp>
        <p:nvSpPr>
          <p:cNvPr id="13" name="TekstSylinder 12"/>
          <p:cNvSpPr txBox="1"/>
          <p:nvPr/>
        </p:nvSpPr>
        <p:spPr>
          <a:xfrm>
            <a:off x="6589021" y="6166097"/>
            <a:ext cx="1872208" cy="369400"/>
          </a:xfrm>
          <a:prstGeom prst="rect">
            <a:avLst/>
          </a:prstGeom>
          <a:solidFill>
            <a:srgbClr val="E9E9E9"/>
          </a:solidFill>
        </p:spPr>
        <p:txBody>
          <a:bodyPr wrap="square" lIns="91413" tIns="45708" rIns="91413" bIns="45708" rtlCol="0">
            <a:spAutoFit/>
          </a:bodyPr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Rektangel 3"/>
          <p:cNvSpPr/>
          <p:nvPr/>
        </p:nvSpPr>
        <p:spPr>
          <a:xfrm>
            <a:off x="1165536" y="4870546"/>
            <a:ext cx="3764566" cy="430863"/>
          </a:xfrm>
          <a:prstGeom prst="rect">
            <a:avLst/>
          </a:prstGeom>
          <a:solidFill>
            <a:srgbClr val="002060"/>
          </a:solidFill>
        </p:spPr>
        <p:txBody>
          <a:bodyPr wrap="none" lIns="91413" tIns="45708" rIns="91413" bIns="45708">
            <a:spAutoFit/>
          </a:bodyPr>
          <a:lstStyle/>
          <a:p>
            <a:r>
              <a:rPr lang="nb-NO" sz="2200" dirty="0" smtClean="0">
                <a:solidFill>
                  <a:srgbClr val="002060"/>
                </a:solidFill>
                <a:hlinkClick r:id="rId5"/>
              </a:rPr>
              <a:t>http</a:t>
            </a:r>
            <a:r>
              <a:rPr lang="nb-NO" sz="2200" dirty="0">
                <a:solidFill>
                  <a:srgbClr val="002060"/>
                </a:solidFill>
                <a:hlinkClick r:id="rId5"/>
              </a:rPr>
              <a:t>://</a:t>
            </a:r>
            <a:r>
              <a:rPr lang="nb-NO" sz="2200" dirty="0" smtClean="0">
                <a:solidFill>
                  <a:srgbClr val="002060"/>
                </a:solidFill>
                <a:hlinkClick r:id="rId5"/>
              </a:rPr>
              <a:t>kimaservicesenter.no</a:t>
            </a:r>
            <a:r>
              <a:rPr lang="nb-NO" sz="2200" dirty="0">
                <a:solidFill>
                  <a:srgbClr val="002060"/>
                </a:solidFill>
                <a:hlinkClick r:id="rId5"/>
              </a:rPr>
              <a:t>/</a:t>
            </a:r>
            <a:r>
              <a:rPr lang="nb-NO" sz="2200" dirty="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14" name="TekstSylinder 13"/>
          <p:cNvSpPr txBox="1"/>
          <p:nvPr/>
        </p:nvSpPr>
        <p:spPr>
          <a:xfrm>
            <a:off x="6012957" y="6166097"/>
            <a:ext cx="2448272" cy="369400"/>
          </a:xfrm>
          <a:prstGeom prst="rect">
            <a:avLst/>
          </a:prstGeom>
          <a:solidFill>
            <a:srgbClr val="E9E9E9"/>
          </a:solidFill>
        </p:spPr>
        <p:txBody>
          <a:bodyPr wrap="square" lIns="91413" tIns="45708" rIns="91413" bIns="45708" rtlCol="0">
            <a:spAutoFit/>
          </a:bodyPr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909280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1" grpId="0" animBg="1"/>
      <p:bldP spid="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07192" y="477468"/>
            <a:ext cx="7373201" cy="430887"/>
          </a:xfrm>
          <a:solidFill>
            <a:schemeClr val="accent4">
              <a:lumMod val="20000"/>
              <a:lumOff val="80000"/>
            </a:schemeClr>
          </a:solidFill>
        </p:spPr>
        <p:txBody>
          <a:bodyPr/>
          <a:lstStyle/>
          <a:p>
            <a:r>
              <a:rPr lang="nb-NO" sz="2800" dirty="0" err="1"/>
              <a:t>Web-site:www.klimaservicesenter.no</a:t>
            </a:r>
            <a:endParaRPr lang="nb-NO" sz="2800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511377-37BB-4F33-9F23-ECC5B6253940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14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7" name="Plassholder for innhold 6"/>
          <p:cNvPicPr>
            <a:picLocks noGrp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85827" y="1197550"/>
            <a:ext cx="7647409" cy="4739336"/>
          </a:xfrm>
          <a:prstGeom prst="rect">
            <a:avLst/>
          </a:prstGeom>
        </p:spPr>
      </p:pic>
      <p:sp>
        <p:nvSpPr>
          <p:cNvPr id="8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1521722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Shape 259"/>
          <p:cNvSpPr txBox="1">
            <a:spLocks noGrp="1"/>
          </p:cNvSpPr>
          <p:nvPr>
            <p:ph type="sldNum" idx="4294967295"/>
          </p:nvPr>
        </p:nvSpPr>
        <p:spPr>
          <a:xfrm>
            <a:off x="396330" y="6482098"/>
            <a:ext cx="468000" cy="123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algn="l">
              <a:buSzPct val="25000"/>
            </a:pPr>
            <a:fld id="{00000000-1234-1234-1234-123412341234}" type="slidenum">
              <a:rPr lang="x-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algn="l">
                <a:buSzPct val="25000"/>
              </a:pPr>
              <a:t>15</a:t>
            </a:fld>
            <a:endParaRPr lang="x-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60" name="Shape 26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95605" y="195307"/>
            <a:ext cx="4321230" cy="61874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876" y="201830"/>
            <a:ext cx="4177189" cy="6180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tel 3"/>
          <p:cNvSpPr txBox="1">
            <a:spLocks/>
          </p:cNvSpPr>
          <p:nvPr/>
        </p:nvSpPr>
        <p:spPr>
          <a:xfrm>
            <a:off x="395608" y="6488698"/>
            <a:ext cx="8426399" cy="360123"/>
          </a:xfrm>
          <a:prstGeom prst="rect">
            <a:avLst/>
          </a:prstGeom>
          <a:solidFill>
            <a:srgbClr val="54AB54"/>
          </a:solidFill>
          <a:ln>
            <a:noFill/>
          </a:ln>
          <a:effectLst>
            <a:softEdge rad="12700"/>
          </a:effectLst>
        </p:spPr>
        <p:txBody>
          <a:bodyPr vert="horz" lIns="91422" tIns="45713" rIns="91422" bIns="4571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3789814183"/>
      </p:ext>
    </p:extLst>
  </p:cSld>
  <p:clrMapOvr>
    <a:masterClrMapping/>
  </p:clrMapOvr>
  <p:transition spd="slow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Shape 411"/>
          <p:cNvSpPr txBox="1">
            <a:spLocks noGrp="1"/>
          </p:cNvSpPr>
          <p:nvPr>
            <p:ph type="title"/>
          </p:nvPr>
        </p:nvSpPr>
        <p:spPr>
          <a:xfrm>
            <a:off x="395608" y="279106"/>
            <a:ext cx="8569674" cy="56939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chemeClr val="dk2"/>
              </a:buClr>
              <a:buSzPct val="25000"/>
            </a:pPr>
            <a:r>
              <a:rPr lang="nb-NO" sz="3400" dirty="0" err="1" smtClean="0">
                <a:solidFill>
                  <a:srgbClr val="1D6936"/>
                </a:solidFill>
              </a:rPr>
              <a:t>Largest</a:t>
            </a:r>
            <a:r>
              <a:rPr lang="nb-NO" sz="3400" dirty="0" smtClean="0">
                <a:solidFill>
                  <a:srgbClr val="1D6936"/>
                </a:solidFill>
              </a:rPr>
              <a:t> t</a:t>
            </a:r>
            <a:r>
              <a:rPr lang="x-none" sz="3400" smtClean="0">
                <a:solidFill>
                  <a:srgbClr val="1D6936"/>
                </a:solidFill>
              </a:rPr>
              <a:t>emperature </a:t>
            </a:r>
            <a:r>
              <a:rPr lang="nb-NO" sz="3400" dirty="0" err="1" smtClean="0">
                <a:solidFill>
                  <a:srgbClr val="1D6936"/>
                </a:solidFill>
              </a:rPr>
              <a:t>increase</a:t>
            </a:r>
            <a:r>
              <a:rPr lang="nb-NO" sz="3400" dirty="0" smtClean="0">
                <a:solidFill>
                  <a:srgbClr val="1D6936"/>
                </a:solidFill>
              </a:rPr>
              <a:t> in </a:t>
            </a:r>
            <a:r>
              <a:rPr lang="nb-NO" sz="3400" dirty="0" err="1" smtClean="0">
                <a:solidFill>
                  <a:srgbClr val="1D6936"/>
                </a:solidFill>
              </a:rPr>
              <a:t>the</a:t>
            </a:r>
            <a:r>
              <a:rPr lang="nb-NO" sz="3400" dirty="0" smtClean="0">
                <a:solidFill>
                  <a:srgbClr val="1D6936"/>
                </a:solidFill>
              </a:rPr>
              <a:t> </a:t>
            </a:r>
            <a:r>
              <a:rPr lang="nb-NO" sz="3400" dirty="0" err="1" smtClean="0">
                <a:solidFill>
                  <a:srgbClr val="1D6936"/>
                </a:solidFill>
              </a:rPr>
              <a:t>north</a:t>
            </a:r>
            <a:endParaRPr lang="x-none" sz="3400">
              <a:solidFill>
                <a:srgbClr val="1D6936"/>
              </a:solidFill>
            </a:endParaRPr>
          </a:p>
        </p:txBody>
      </p:sp>
      <p:sp>
        <p:nvSpPr>
          <p:cNvPr id="412" name="Shape 412"/>
          <p:cNvSpPr txBox="1">
            <a:spLocks noGrp="1"/>
          </p:cNvSpPr>
          <p:nvPr>
            <p:ph type="sldNum" idx="4294967295"/>
          </p:nvPr>
        </p:nvSpPr>
        <p:spPr>
          <a:xfrm>
            <a:off x="396330" y="6482098"/>
            <a:ext cx="468000" cy="123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algn="l">
              <a:buSzPct val="25000"/>
            </a:pPr>
            <a:fld id="{00000000-1234-1234-1234-123412341234}" type="slidenum">
              <a:rPr lang="x-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algn="l">
                <a:buSzPct val="25000"/>
              </a:pPr>
              <a:t>16</a:t>
            </a:fld>
            <a:endParaRPr lang="x-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13" name="Shape 4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16409" y="1053530"/>
            <a:ext cx="7129433" cy="511323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ittel 3"/>
          <p:cNvSpPr txBox="1">
            <a:spLocks/>
          </p:cNvSpPr>
          <p:nvPr/>
        </p:nvSpPr>
        <p:spPr>
          <a:xfrm>
            <a:off x="39560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422" tIns="45713" rIns="91422" bIns="4571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2926008231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Shape 411"/>
          <p:cNvSpPr txBox="1">
            <a:spLocks noGrp="1"/>
          </p:cNvSpPr>
          <p:nvPr>
            <p:ph type="title"/>
          </p:nvPr>
        </p:nvSpPr>
        <p:spPr>
          <a:xfrm>
            <a:off x="265153" y="260709"/>
            <a:ext cx="8680674" cy="56939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chemeClr val="dk2"/>
              </a:buClr>
              <a:buSzPct val="25000"/>
            </a:pPr>
            <a:r>
              <a:rPr lang="nb-NO" sz="2800" dirty="0" err="1" smtClean="0">
                <a:solidFill>
                  <a:srgbClr val="002060"/>
                </a:solidFill>
              </a:rPr>
              <a:t>Increase</a:t>
            </a:r>
            <a:r>
              <a:rPr lang="nb-NO" sz="2800" dirty="0" smtClean="0">
                <a:solidFill>
                  <a:srgbClr val="002060"/>
                </a:solidFill>
              </a:rPr>
              <a:t> in </a:t>
            </a:r>
            <a:r>
              <a:rPr lang="nb-NO" sz="2800" dirty="0" err="1" smtClean="0">
                <a:solidFill>
                  <a:srgbClr val="002060"/>
                </a:solidFill>
              </a:rPr>
              <a:t>number</a:t>
            </a:r>
            <a:r>
              <a:rPr lang="nb-NO" sz="2800" dirty="0" smtClean="0">
                <a:solidFill>
                  <a:srgbClr val="002060"/>
                </a:solidFill>
              </a:rPr>
              <a:t> </a:t>
            </a:r>
            <a:r>
              <a:rPr lang="nb-NO" sz="2800" dirty="0" err="1" smtClean="0">
                <a:solidFill>
                  <a:srgbClr val="002060"/>
                </a:solidFill>
              </a:rPr>
              <a:t>of</a:t>
            </a:r>
            <a:r>
              <a:rPr lang="nb-NO" sz="2800" dirty="0" smtClean="0">
                <a:solidFill>
                  <a:srgbClr val="002060"/>
                </a:solidFill>
              </a:rPr>
              <a:t> </a:t>
            </a:r>
            <a:r>
              <a:rPr lang="nb-NO" sz="2800" dirty="0" err="1" smtClean="0">
                <a:solidFill>
                  <a:srgbClr val="002060"/>
                </a:solidFill>
              </a:rPr>
              <a:t>days</a:t>
            </a:r>
            <a:r>
              <a:rPr lang="nb-NO" sz="2800" dirty="0" smtClean="0">
                <a:solidFill>
                  <a:srgbClr val="002060"/>
                </a:solidFill>
              </a:rPr>
              <a:t> </a:t>
            </a:r>
            <a:r>
              <a:rPr lang="nb-NO" sz="2800" dirty="0" err="1" smtClean="0">
                <a:solidFill>
                  <a:srgbClr val="002060"/>
                </a:solidFill>
              </a:rPr>
              <a:t>with</a:t>
            </a:r>
            <a:r>
              <a:rPr lang="nb-NO" sz="2800" dirty="0" smtClean="0">
                <a:solidFill>
                  <a:srgbClr val="002060"/>
                </a:solidFill>
              </a:rPr>
              <a:t> </a:t>
            </a:r>
            <a:r>
              <a:rPr lang="nb-NO" sz="2800" dirty="0" err="1" smtClean="0">
                <a:solidFill>
                  <a:srgbClr val="002060"/>
                </a:solidFill>
              </a:rPr>
              <a:t>heavy</a:t>
            </a:r>
            <a:r>
              <a:rPr lang="nb-NO" sz="2800" dirty="0" smtClean="0">
                <a:solidFill>
                  <a:srgbClr val="002060"/>
                </a:solidFill>
              </a:rPr>
              <a:t> </a:t>
            </a:r>
            <a:r>
              <a:rPr lang="nb-NO" sz="2800" dirty="0" err="1" smtClean="0">
                <a:solidFill>
                  <a:srgbClr val="002060"/>
                </a:solidFill>
              </a:rPr>
              <a:t>rainfall</a:t>
            </a:r>
            <a:r>
              <a:rPr lang="nb-NO" sz="2800" dirty="0" smtClean="0">
                <a:solidFill>
                  <a:srgbClr val="002060"/>
                </a:solidFill>
              </a:rPr>
              <a:t> </a:t>
            </a:r>
            <a:r>
              <a:rPr lang="nb-NO" sz="1600" dirty="0" smtClean="0">
                <a:solidFill>
                  <a:srgbClr val="002060"/>
                </a:solidFill>
              </a:rPr>
              <a:t>(q99,5)</a:t>
            </a:r>
            <a:endParaRPr lang="x-none" sz="1600" dirty="0">
              <a:solidFill>
                <a:srgbClr val="002060"/>
              </a:solidFill>
            </a:endParaRPr>
          </a:p>
        </p:txBody>
      </p:sp>
      <p:sp>
        <p:nvSpPr>
          <p:cNvPr id="412" name="Shape 412"/>
          <p:cNvSpPr txBox="1">
            <a:spLocks noGrp="1"/>
          </p:cNvSpPr>
          <p:nvPr>
            <p:ph type="sldNum" idx="4294967295"/>
          </p:nvPr>
        </p:nvSpPr>
        <p:spPr>
          <a:xfrm>
            <a:off x="396330" y="6482098"/>
            <a:ext cx="468000" cy="123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algn="l">
              <a:buSzPct val="25000"/>
            </a:pPr>
            <a:fld id="{00000000-1234-1234-1234-123412341234}" type="slidenum">
              <a:rPr lang="x-none"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algn="l">
                <a:buSzPct val="25000"/>
              </a:pPr>
              <a:t>17</a:t>
            </a:fld>
            <a:endParaRPr lang="x-none" sz="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Tittel 3"/>
          <p:cNvSpPr txBox="1">
            <a:spLocks/>
          </p:cNvSpPr>
          <p:nvPr/>
        </p:nvSpPr>
        <p:spPr>
          <a:xfrm>
            <a:off x="395605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449" tIns="45725" rIns="91449" bIns="45725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sk klimaservicesenter 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323584" y="1197029"/>
            <a:ext cx="3889105" cy="4478937"/>
            <a:chOff x="6335958" y="1052736"/>
            <a:chExt cx="2433489" cy="2922528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/>
            <a:srcRect l="7096"/>
            <a:stretch/>
          </p:blipFill>
          <p:spPr>
            <a:xfrm>
              <a:off x="6335958" y="1052736"/>
              <a:ext cx="2433489" cy="2922528"/>
            </a:xfrm>
            <a:prstGeom prst="rect">
              <a:avLst/>
            </a:prstGeom>
          </p:spPr>
        </p:pic>
        <p:sp>
          <p:nvSpPr>
            <p:cNvPr id="17" name="Rectangle 16"/>
            <p:cNvSpPr/>
            <p:nvPr/>
          </p:nvSpPr>
          <p:spPr>
            <a:xfrm>
              <a:off x="7922996" y="2697612"/>
              <a:ext cx="530999" cy="10809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7515438" y="2429656"/>
              <a:ext cx="713235" cy="22090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[</a:t>
              </a:r>
              <a:r>
                <a:rPr lang="en-US" sz="1600" dirty="0" err="1" smtClean="0"/>
                <a:t>mmday</a:t>
              </a:r>
              <a:r>
                <a:rPr lang="en-US" sz="1600" dirty="0" smtClean="0"/>
                <a:t>]</a:t>
              </a:r>
              <a:endParaRPr lang="en-US" sz="1600" dirty="0"/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7958287" y="2768700"/>
              <a:ext cx="443540" cy="22090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 anchor="ctr">
              <a:spAutoFit/>
            </a:bodyPr>
            <a:lstStyle/>
            <a:p>
              <a:r>
                <a:rPr lang="en-US" sz="1600" dirty="0"/>
                <a:t>20-40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7958287" y="3097676"/>
              <a:ext cx="443540" cy="22090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 anchor="ctr">
              <a:spAutoFit/>
            </a:bodyPr>
            <a:lstStyle/>
            <a:p>
              <a:r>
                <a:rPr lang="en-US" sz="1600" dirty="0"/>
                <a:t>40-80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958287" y="3402583"/>
              <a:ext cx="514755" cy="22090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 anchor="ctr">
              <a:spAutoFit/>
            </a:bodyPr>
            <a:lstStyle/>
            <a:p>
              <a:r>
                <a:rPr lang="en-US" sz="1600" dirty="0"/>
                <a:t>80-200</a:t>
              </a: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367372" y="1292594"/>
            <a:ext cx="2903377" cy="369342"/>
          </a:xfrm>
          <a:prstGeom prst="rect">
            <a:avLst/>
          </a:prstGeom>
          <a:noFill/>
        </p:spPr>
        <p:txBody>
          <a:bodyPr wrap="none" lIns="91449" tIns="45725" rIns="91449" bIns="45725" rtlCol="0">
            <a:spAutoFit/>
          </a:bodyPr>
          <a:lstStyle/>
          <a:p>
            <a:r>
              <a:rPr lang="en-US" b="1" dirty="0" smtClean="0"/>
              <a:t>Present values (mm/day)</a:t>
            </a:r>
            <a:endParaRPr lang="en-US" b="1" dirty="0"/>
          </a:p>
        </p:txBody>
      </p:sp>
      <p:grpSp>
        <p:nvGrpSpPr>
          <p:cNvPr id="7" name="Gruppe 6"/>
          <p:cNvGrpSpPr/>
          <p:nvPr/>
        </p:nvGrpSpPr>
        <p:grpSpPr>
          <a:xfrm>
            <a:off x="3751818" y="980955"/>
            <a:ext cx="5646351" cy="5141977"/>
            <a:chOff x="3536443" y="1124744"/>
            <a:chExt cx="5500053" cy="4663121"/>
          </a:xfrm>
        </p:grpSpPr>
        <p:grpSp>
          <p:nvGrpSpPr>
            <p:cNvPr id="3" name="Group 2"/>
            <p:cNvGrpSpPr/>
            <p:nvPr/>
          </p:nvGrpSpPr>
          <p:grpSpPr>
            <a:xfrm>
              <a:off x="3536443" y="1412776"/>
              <a:ext cx="5500053" cy="4375089"/>
              <a:chOff x="3536443" y="1412776"/>
              <a:chExt cx="5500053" cy="4375089"/>
            </a:xfrm>
          </p:grpSpPr>
          <p:grpSp>
            <p:nvGrpSpPr>
              <p:cNvPr id="26" name="Group 25"/>
              <p:cNvGrpSpPr/>
              <p:nvPr/>
            </p:nvGrpSpPr>
            <p:grpSpPr>
              <a:xfrm>
                <a:off x="4003345" y="1412776"/>
                <a:ext cx="5033151" cy="4375089"/>
                <a:chOff x="1547664" y="1246438"/>
                <a:chExt cx="6133655" cy="5017331"/>
              </a:xfrm>
            </p:grpSpPr>
            <p:sp>
              <p:nvSpPr>
                <p:cNvPr id="31" name="TextBox 30"/>
                <p:cNvSpPr txBox="1"/>
                <p:nvPr/>
              </p:nvSpPr>
              <p:spPr>
                <a:xfrm>
                  <a:off x="2369288" y="5847655"/>
                  <a:ext cx="795787" cy="416113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2000" b="1" dirty="0" smtClean="0"/>
                    <a:t>DJF</a:t>
                  </a:r>
                  <a:endParaRPr lang="en-US" sz="2000" b="1" dirty="0"/>
                </a:p>
              </p:txBody>
            </p:sp>
            <p:pic>
              <p:nvPicPr>
                <p:cNvPr id="30" name="Picture 29"/>
                <p:cNvPicPr>
                  <a:picLocks noChangeAspect="1"/>
                </p:cNvPicPr>
                <p:nvPr/>
              </p:nvPicPr>
              <p:blipFill rotWithShape="1">
                <a:blip r:embed="rId4"/>
                <a:srcRect l="9474" r="6826" b="4532"/>
                <a:stretch/>
              </p:blipFill>
              <p:spPr>
                <a:xfrm>
                  <a:off x="2369734" y="1246438"/>
                  <a:ext cx="5239576" cy="4607788"/>
                </a:xfrm>
                <a:prstGeom prst="rect">
                  <a:avLst/>
                </a:prstGeom>
              </p:spPr>
            </p:pic>
            <p:sp>
              <p:nvSpPr>
                <p:cNvPr id="32" name="TextBox 31"/>
                <p:cNvSpPr txBox="1"/>
                <p:nvPr/>
              </p:nvSpPr>
              <p:spPr>
                <a:xfrm>
                  <a:off x="3165075" y="5847655"/>
                  <a:ext cx="946115" cy="416113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2000" b="1" dirty="0" smtClean="0"/>
                    <a:t>MAM</a:t>
                  </a:r>
                  <a:endParaRPr lang="en-US" sz="2000" b="1" dirty="0"/>
                </a:p>
              </p:txBody>
            </p:sp>
            <p:sp>
              <p:nvSpPr>
                <p:cNvPr id="33" name="TextBox 32"/>
                <p:cNvSpPr txBox="1"/>
                <p:nvPr/>
              </p:nvSpPr>
              <p:spPr>
                <a:xfrm>
                  <a:off x="4225286" y="5847655"/>
                  <a:ext cx="778661" cy="416113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2000" b="1" dirty="0" smtClean="0"/>
                    <a:t>JJA</a:t>
                  </a:r>
                  <a:endParaRPr lang="en-US" sz="2000" b="1" dirty="0"/>
                </a:p>
              </p:txBody>
            </p:sp>
            <p:sp>
              <p:nvSpPr>
                <p:cNvPr id="34" name="TextBox 33"/>
                <p:cNvSpPr txBox="1"/>
                <p:nvPr/>
              </p:nvSpPr>
              <p:spPr>
                <a:xfrm>
                  <a:off x="5055323" y="5847655"/>
                  <a:ext cx="879514" cy="416114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2000" b="1" dirty="0" smtClean="0"/>
                    <a:t>SON</a:t>
                  </a:r>
                  <a:endParaRPr lang="en-US" sz="2000" b="1" dirty="0"/>
                </a:p>
              </p:txBody>
            </p:sp>
            <p:sp>
              <p:nvSpPr>
                <p:cNvPr id="35" name="TextBox 34"/>
                <p:cNvSpPr txBox="1"/>
                <p:nvPr/>
              </p:nvSpPr>
              <p:spPr>
                <a:xfrm>
                  <a:off x="6084167" y="5847655"/>
                  <a:ext cx="1060188" cy="416114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2000" b="1" dirty="0" smtClean="0"/>
                    <a:t>YEAR</a:t>
                  </a:r>
                  <a:endParaRPr lang="en-US" sz="2000" b="1" dirty="0"/>
                </a:p>
              </p:txBody>
            </p:sp>
            <p:sp>
              <p:nvSpPr>
                <p:cNvPr id="36" name="Rectangle 35"/>
                <p:cNvSpPr/>
                <p:nvPr/>
              </p:nvSpPr>
              <p:spPr>
                <a:xfrm>
                  <a:off x="5809111" y="1268760"/>
                  <a:ext cx="1872208" cy="864096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" name="Rectangle 36"/>
                <p:cNvSpPr/>
                <p:nvPr/>
              </p:nvSpPr>
              <p:spPr>
                <a:xfrm>
                  <a:off x="1547664" y="1628800"/>
                  <a:ext cx="504056" cy="403244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7" name="TextBox 26"/>
              <p:cNvSpPr txBox="1"/>
              <p:nvPr/>
            </p:nvSpPr>
            <p:spPr>
              <a:xfrm>
                <a:off x="3549232" y="3064798"/>
                <a:ext cx="1101148" cy="36284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en-US" sz="2000" b="1" dirty="0"/>
                  <a:t>+ 100 %</a:t>
                </a: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3722560" y="4106413"/>
                <a:ext cx="962178" cy="36284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en-US" sz="2000" b="1" dirty="0"/>
                  <a:t>+ 50 %</a:t>
                </a: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3536443" y="1948770"/>
                <a:ext cx="1101148" cy="36284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2000" b="1" dirty="0"/>
                  <a:t>+ 150 %</a:t>
                </a:r>
              </a:p>
            </p:txBody>
          </p:sp>
        </p:grpSp>
        <p:sp>
          <p:nvSpPr>
            <p:cNvPr id="38" name="Rectangle 37"/>
            <p:cNvSpPr/>
            <p:nvPr/>
          </p:nvSpPr>
          <p:spPr>
            <a:xfrm>
              <a:off x="7627944" y="1484784"/>
              <a:ext cx="288032" cy="144016"/>
            </a:xfrm>
            <a:prstGeom prst="rect">
              <a:avLst/>
            </a:prstGeom>
            <a:solidFill>
              <a:srgbClr val="F63D33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7627944" y="1700808"/>
              <a:ext cx="288032" cy="144016"/>
            </a:xfrm>
            <a:prstGeom prst="rect">
              <a:avLst/>
            </a:prstGeom>
            <a:solidFill>
              <a:srgbClr val="A7A7FF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8059992" y="1623386"/>
              <a:ext cx="791977" cy="27911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sz="1400" dirty="0" smtClean="0"/>
                <a:t>RCP4.5</a:t>
              </a:r>
              <a:endParaRPr lang="en-US" sz="1400" dirty="0"/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7301583" y="1124744"/>
              <a:ext cx="1029321" cy="3349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scenario</a:t>
              </a:r>
              <a:endParaRPr lang="en-US" dirty="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8077155" y="1407361"/>
              <a:ext cx="791977" cy="27911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sz="1400" dirty="0" smtClean="0"/>
                <a:t>RCP8.5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72081075"/>
      </p:ext>
    </p:extLst>
  </p:cSld>
  <p:clrMapOvr>
    <a:masterClrMapping/>
  </p:clrMapOvr>
  <p:transition spd="slow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811" y="1240530"/>
            <a:ext cx="7058010" cy="4882191"/>
          </a:xfrm>
          <a:prstGeom prst="rect">
            <a:avLst/>
          </a:prstGeom>
        </p:spPr>
      </p:pic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83" y="1341082"/>
            <a:ext cx="8231029" cy="4786503"/>
          </a:xfrm>
        </p:spPr>
        <p:txBody>
          <a:bodyPr/>
          <a:lstStyle/>
          <a:p>
            <a:pPr marL="0" indent="0">
              <a:buNone/>
            </a:pPr>
            <a:endParaRPr lang="nb-NO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4"/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5"/>
            <a:endParaRPr lang="nb-NO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6"/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7"/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tel 3"/>
          <p:cNvSpPr txBox="1">
            <a:spLocks/>
          </p:cNvSpPr>
          <p:nvPr/>
        </p:nvSpPr>
        <p:spPr>
          <a:xfrm>
            <a:off x="395608" y="6310781"/>
            <a:ext cx="8426399" cy="360123"/>
          </a:xfrm>
          <a:prstGeom prst="rect">
            <a:avLst/>
          </a:prstGeom>
          <a:solidFill>
            <a:srgbClr val="54AB54"/>
          </a:solidFill>
          <a:ln>
            <a:noFill/>
          </a:ln>
          <a:effectLst>
            <a:softEdge rad="12700"/>
          </a:effectLst>
        </p:spPr>
        <p:txBody>
          <a:bodyPr vert="horz" lIns="91422" tIns="45713" rIns="91422" bIns="4571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sk klimaservicesenter 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95608" y="274701"/>
            <a:ext cx="8426399" cy="922328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water in rivers during winter season – reduced streamflow during summer</a:t>
            </a:r>
            <a:endParaRPr lang="en-US" dirty="0">
              <a:solidFill>
                <a:srgbClr val="1D69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kstSylinder 6"/>
          <p:cNvSpPr txBox="1"/>
          <p:nvPr/>
        </p:nvSpPr>
        <p:spPr>
          <a:xfrm>
            <a:off x="1619953" y="2565498"/>
            <a:ext cx="900723" cy="369318"/>
          </a:xfrm>
          <a:prstGeom prst="rect">
            <a:avLst/>
          </a:prstGeom>
          <a:noFill/>
        </p:spPr>
        <p:txBody>
          <a:bodyPr wrap="none" lIns="91422" tIns="45713" rIns="91422" bIns="45713" rtlCol="0">
            <a:spAutoFit/>
          </a:bodyPr>
          <a:lstStyle/>
          <a:p>
            <a:r>
              <a:rPr lang="nb-NO" b="1" dirty="0" smtClean="0"/>
              <a:t>Winter</a:t>
            </a:r>
            <a:endParaRPr lang="nb-NO" b="1" dirty="0"/>
          </a:p>
        </p:txBody>
      </p:sp>
      <p:sp>
        <p:nvSpPr>
          <p:cNvPr id="8" name="TekstSylinder 7"/>
          <p:cNvSpPr txBox="1"/>
          <p:nvPr/>
        </p:nvSpPr>
        <p:spPr>
          <a:xfrm>
            <a:off x="5220979" y="2565498"/>
            <a:ext cx="1107959" cy="369318"/>
          </a:xfrm>
          <a:prstGeom prst="rect">
            <a:avLst/>
          </a:prstGeom>
          <a:noFill/>
        </p:spPr>
        <p:txBody>
          <a:bodyPr wrap="none" lIns="91422" tIns="45713" rIns="91422" bIns="45713" rtlCol="0">
            <a:spAutoFit/>
          </a:bodyPr>
          <a:lstStyle/>
          <a:p>
            <a:r>
              <a:rPr lang="nb-NO" b="1" dirty="0" smtClean="0"/>
              <a:t>Summer</a:t>
            </a:r>
            <a:endParaRPr lang="nb-NO" b="1" dirty="0"/>
          </a:p>
        </p:txBody>
      </p:sp>
    </p:spTree>
    <p:extLst>
      <p:ext uri="{BB962C8B-B14F-4D97-AF65-F5344CB8AC3E}">
        <p14:creationId xmlns:p14="http://schemas.microsoft.com/office/powerpoint/2010/main" val="4292693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Shape 411"/>
          <p:cNvSpPr txBox="1">
            <a:spLocks noGrp="1"/>
          </p:cNvSpPr>
          <p:nvPr>
            <p:ph type="title"/>
          </p:nvPr>
        </p:nvSpPr>
        <p:spPr>
          <a:xfrm>
            <a:off x="886203" y="279106"/>
            <a:ext cx="7373100" cy="56939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chemeClr val="dk2"/>
              </a:buClr>
              <a:buSzPct val="25000"/>
            </a:pPr>
            <a:r>
              <a:rPr lang="nb-NO" dirty="0" smtClean="0">
                <a:solidFill>
                  <a:srgbClr val="1D6936"/>
                </a:solidFill>
              </a:rPr>
              <a:t>Sea </a:t>
            </a:r>
            <a:r>
              <a:rPr lang="nb-NO" dirty="0" err="1" smtClean="0">
                <a:solidFill>
                  <a:srgbClr val="1D6936"/>
                </a:solidFill>
              </a:rPr>
              <a:t>level</a:t>
            </a:r>
            <a:r>
              <a:rPr lang="nb-NO" dirty="0" smtClean="0">
                <a:solidFill>
                  <a:srgbClr val="1D6936"/>
                </a:solidFill>
              </a:rPr>
              <a:t> rise up to 2100 </a:t>
            </a:r>
            <a:r>
              <a:rPr lang="nb-NO" sz="1600" dirty="0" smtClean="0">
                <a:solidFill>
                  <a:srgbClr val="1D6936"/>
                </a:solidFill>
              </a:rPr>
              <a:t>(RCP8.5)</a:t>
            </a:r>
            <a:endParaRPr lang="x-none" sz="1600" dirty="0">
              <a:solidFill>
                <a:srgbClr val="1D6936"/>
              </a:solidFill>
            </a:endParaRPr>
          </a:p>
        </p:txBody>
      </p:sp>
      <p:sp>
        <p:nvSpPr>
          <p:cNvPr id="412" name="Shape 412"/>
          <p:cNvSpPr txBox="1">
            <a:spLocks noGrp="1"/>
          </p:cNvSpPr>
          <p:nvPr>
            <p:ph type="sldNum" idx="4294967295"/>
          </p:nvPr>
        </p:nvSpPr>
        <p:spPr>
          <a:xfrm>
            <a:off x="396330" y="6482098"/>
            <a:ext cx="468000" cy="123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algn="l">
              <a:buSzPct val="25000"/>
            </a:pPr>
            <a:fld id="{00000000-1234-1234-1234-123412341234}" type="slidenum">
              <a:rPr lang="x-none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pPr algn="l">
                <a:buSzPct val="25000"/>
              </a:pPr>
              <a:t>19</a:t>
            </a:fld>
            <a:endParaRPr lang="x-none">
              <a:solidFill>
                <a:prstClr val="black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Tittel 3"/>
          <p:cNvSpPr txBox="1">
            <a:spLocks/>
          </p:cNvSpPr>
          <p:nvPr/>
        </p:nvSpPr>
        <p:spPr>
          <a:xfrm>
            <a:off x="39560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422" tIns="45713" rIns="91422" bIns="4571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sk klimaservicesenter 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395608" y="1126224"/>
            <a:ext cx="3321865" cy="2303573"/>
            <a:chOff x="395537" y="1037928"/>
            <a:chExt cx="3321288" cy="2303040"/>
          </a:xfrm>
        </p:grpSpPr>
        <p:pic>
          <p:nvPicPr>
            <p:cNvPr id="7" name="Picture 6" descr="Sites_tidegauge_projections_AR5_plusRCP26_SL2014_Fig5_x.eps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965" t="17260" r="14052" b="61887"/>
            <a:stretch/>
          </p:blipFill>
          <p:spPr>
            <a:xfrm>
              <a:off x="395537" y="1124744"/>
              <a:ext cx="3201432" cy="2216224"/>
            </a:xfrm>
            <a:prstGeom prst="rect">
              <a:avLst/>
            </a:prstGeom>
          </p:spPr>
        </p:pic>
        <p:sp>
          <p:nvSpPr>
            <p:cNvPr id="3" name="TextBox 2"/>
            <p:cNvSpPr txBox="1"/>
            <p:nvPr/>
          </p:nvSpPr>
          <p:spPr>
            <a:xfrm>
              <a:off x="611560" y="1259468"/>
              <a:ext cx="1236021" cy="36924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Stavanger</a:t>
              </a:r>
              <a:endParaRPr lang="en-US" dirty="0"/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3237290" y="1037928"/>
              <a:ext cx="479535" cy="2307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/>
                <a:t>meter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196120" y="3717896"/>
            <a:ext cx="3321866" cy="2299169"/>
            <a:chOff x="2915816" y="3486200"/>
            <a:chExt cx="3321289" cy="2298637"/>
          </a:xfrm>
        </p:grpSpPr>
        <p:pic>
          <p:nvPicPr>
            <p:cNvPr id="5" name="Picture 4" descr="Sites_tidegauge_projections_AR5_plusRCP26_SL2014_Fig5_x.eps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11" t="17360" r="55801" b="61711"/>
            <a:stretch/>
          </p:blipFill>
          <p:spPr>
            <a:xfrm>
              <a:off x="2915816" y="3573016"/>
              <a:ext cx="3192151" cy="2211821"/>
            </a:xfrm>
            <a:prstGeom prst="rect">
              <a:avLst/>
            </a:prstGeom>
          </p:spPr>
        </p:pic>
        <p:sp>
          <p:nvSpPr>
            <p:cNvPr id="2" name="TextBox 1"/>
            <p:cNvSpPr txBox="1"/>
            <p:nvPr/>
          </p:nvSpPr>
          <p:spPr>
            <a:xfrm>
              <a:off x="3131840" y="3717032"/>
              <a:ext cx="659041" cy="36924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Oslo</a:t>
              </a:r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757570" y="3486200"/>
              <a:ext cx="479535" cy="2307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/>
                <a:t>meter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5869165" y="1222418"/>
            <a:ext cx="3108226" cy="4531708"/>
            <a:chOff x="5868144" y="1340768"/>
            <a:chExt cx="3107686" cy="4530659"/>
          </a:xfrm>
        </p:grpSpPr>
        <p:grpSp>
          <p:nvGrpSpPr>
            <p:cNvPr id="38" name="Group 37"/>
            <p:cNvGrpSpPr/>
            <p:nvPr/>
          </p:nvGrpSpPr>
          <p:grpSpPr>
            <a:xfrm>
              <a:off x="6084168" y="1340768"/>
              <a:ext cx="2891662" cy="4530659"/>
              <a:chOff x="6156176" y="1340768"/>
              <a:chExt cx="2891662" cy="4530659"/>
            </a:xfrm>
          </p:grpSpPr>
          <p:grpSp>
            <p:nvGrpSpPr>
              <p:cNvPr id="40" name="Group 39"/>
              <p:cNvGrpSpPr/>
              <p:nvPr/>
            </p:nvGrpSpPr>
            <p:grpSpPr>
              <a:xfrm>
                <a:off x="6156176" y="1340768"/>
                <a:ext cx="2376264" cy="4530659"/>
                <a:chOff x="6547738" y="1340768"/>
                <a:chExt cx="2376264" cy="4530659"/>
              </a:xfrm>
            </p:grpSpPr>
            <p:pic>
              <p:nvPicPr>
                <p:cNvPr id="42" name="Picture 41" descr="Fenno_rcp26_45_85_mean_kommuner_SL2014_Fig5_x.eps"/>
                <p:cNvPicPr>
                  <a:picLocks noChangeAspect="1"/>
                </p:cNvPicPr>
                <p:nvPr/>
              </p:nvPicPr>
              <p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4041" t="46210" r="22198" b="17873"/>
                <a:stretch/>
              </p:blipFill>
              <p:spPr>
                <a:xfrm>
                  <a:off x="6660232" y="1340768"/>
                  <a:ext cx="2161437" cy="3912928"/>
                </a:xfrm>
                <a:prstGeom prst="rect">
                  <a:avLst/>
                </a:prstGeom>
              </p:spPr>
            </p:pic>
            <p:pic>
              <p:nvPicPr>
                <p:cNvPr id="43" name="Picture 42" descr="Fenno_rcp26_45_85_mean_kommuner_SL2014_Fig5_x.eps"/>
                <p:cNvPicPr>
                  <a:picLocks noChangeAspect="1"/>
                </p:cNvPicPr>
                <p:nvPr/>
              </p:nvPicPr>
              <p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6950" t="81941" r="66928" b="12412"/>
                <a:stretch/>
              </p:blipFill>
              <p:spPr>
                <a:xfrm>
                  <a:off x="6547738" y="5256206"/>
                  <a:ext cx="2376264" cy="615221"/>
                </a:xfrm>
                <a:prstGeom prst="rect">
                  <a:avLst/>
                </a:prstGeom>
              </p:spPr>
            </p:pic>
          </p:grpSp>
          <p:sp>
            <p:nvSpPr>
              <p:cNvPr id="41" name="TextBox 40"/>
              <p:cNvSpPr txBox="1"/>
              <p:nvPr/>
            </p:nvSpPr>
            <p:spPr>
              <a:xfrm>
                <a:off x="8261939" y="5042103"/>
                <a:ext cx="785899" cy="523099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 smtClean="0"/>
                  <a:t>   m/</a:t>
                </a:r>
              </a:p>
              <a:p>
                <a:r>
                  <a:rPr lang="en-US" sz="1400" dirty="0"/>
                  <a:t>1</a:t>
                </a:r>
                <a:r>
                  <a:rPr lang="en-US" sz="1400" dirty="0" smtClean="0"/>
                  <a:t>00 </a:t>
                </a:r>
                <a:r>
                  <a:rPr lang="en-US" sz="1400" dirty="0" err="1" smtClean="0"/>
                  <a:t>yrs</a:t>
                </a:r>
                <a:endParaRPr lang="en-US" sz="1400" dirty="0"/>
              </a:p>
            </p:txBody>
          </p:sp>
        </p:grpSp>
        <p:sp>
          <p:nvSpPr>
            <p:cNvPr id="39" name="TextBox 38"/>
            <p:cNvSpPr txBox="1"/>
            <p:nvPr/>
          </p:nvSpPr>
          <p:spPr>
            <a:xfrm>
              <a:off x="5868144" y="1340768"/>
              <a:ext cx="2210478" cy="36924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Change in sea level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269924920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innhold 5"/>
          <p:cNvSpPr>
            <a:spLocks noGrp="1"/>
          </p:cNvSpPr>
          <p:nvPr>
            <p:ph idx="1"/>
          </p:nvPr>
        </p:nvSpPr>
        <p:spPr>
          <a:xfrm>
            <a:off x="756370" y="1485578"/>
            <a:ext cx="7704856" cy="4320480"/>
          </a:xfrm>
        </p:spPr>
        <p:txBody>
          <a:bodyPr>
            <a:noAutofit/>
          </a:bodyPr>
          <a:lstStyle/>
          <a:p>
            <a:pPr marL="0" indent="0">
              <a:buNone/>
              <a:tabLst>
                <a:tab pos="723681" algn="l"/>
              </a:tabLst>
              <a:defRPr/>
            </a:pPr>
            <a:r>
              <a:rPr lang="en-GB" sz="2800" dirty="0"/>
              <a:t>A cooperation between </a:t>
            </a:r>
            <a:endParaRPr lang="en-GB" sz="2800" dirty="0" smtClean="0"/>
          </a:p>
          <a:p>
            <a:pPr>
              <a:buFont typeface="Wingdings" panose="05000000000000000000" pitchFamily="2" charset="2"/>
              <a:buChar char="§"/>
              <a:tabLst>
                <a:tab pos="723681" algn="l"/>
              </a:tabLst>
              <a:defRPr/>
            </a:pPr>
            <a:r>
              <a:rPr lang="en-GB" sz="2800" b="1" dirty="0" smtClean="0">
                <a:solidFill>
                  <a:schemeClr val="bg2">
                    <a:lumMod val="75000"/>
                  </a:schemeClr>
                </a:solidFill>
              </a:rPr>
              <a:t> MET Norway</a:t>
            </a:r>
          </a:p>
          <a:p>
            <a:pPr>
              <a:buFont typeface="Wingdings" panose="05000000000000000000" pitchFamily="2" charset="2"/>
              <a:buChar char="§"/>
              <a:tabLst>
                <a:tab pos="723681" algn="l"/>
              </a:tabLst>
              <a:defRPr/>
            </a:pPr>
            <a:r>
              <a:rPr lang="en-GB" sz="2800" b="1" dirty="0" smtClean="0">
                <a:solidFill>
                  <a:schemeClr val="bg2">
                    <a:lumMod val="75000"/>
                  </a:schemeClr>
                </a:solidFill>
              </a:rPr>
              <a:t> Norwegian </a:t>
            </a:r>
            <a:r>
              <a:rPr lang="en-GB" sz="2800" b="1" dirty="0">
                <a:solidFill>
                  <a:schemeClr val="bg2">
                    <a:lumMod val="75000"/>
                  </a:schemeClr>
                </a:solidFill>
              </a:rPr>
              <a:t>Water Resources and </a:t>
            </a:r>
            <a:r>
              <a:rPr lang="en-GB" sz="2800" b="1" dirty="0" smtClean="0">
                <a:solidFill>
                  <a:schemeClr val="bg2">
                    <a:lumMod val="75000"/>
                  </a:schemeClr>
                </a:solidFill>
              </a:rPr>
              <a:t>Energy  </a:t>
            </a:r>
            <a:endParaRPr lang="en-GB" sz="2800" b="1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  <a:tabLst>
                <a:tab pos="723681" algn="l"/>
              </a:tabLst>
              <a:defRPr/>
            </a:pPr>
            <a:r>
              <a:rPr lang="en-GB" sz="2800" b="1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GB" sz="2800" b="1" dirty="0" smtClean="0">
                <a:solidFill>
                  <a:schemeClr val="bg2">
                    <a:lumMod val="75000"/>
                  </a:schemeClr>
                </a:solidFill>
              </a:rPr>
              <a:t>  Directorate </a:t>
            </a:r>
            <a:r>
              <a:rPr lang="en-GB" sz="2800" b="1" dirty="0">
                <a:solidFill>
                  <a:schemeClr val="bg2">
                    <a:lumMod val="75000"/>
                  </a:schemeClr>
                </a:solidFill>
              </a:rPr>
              <a:t>(NVE) </a:t>
            </a:r>
            <a:endParaRPr lang="en-GB" sz="2800" b="1" dirty="0" smtClean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§"/>
              <a:tabLst>
                <a:tab pos="723681" algn="l"/>
              </a:tabLst>
              <a:defRPr/>
            </a:pPr>
            <a:r>
              <a:rPr lang="en-GB" sz="2800" b="1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GB" sz="2800" b="1" dirty="0" err="1" smtClean="0">
                <a:solidFill>
                  <a:schemeClr val="bg2">
                    <a:lumMod val="75000"/>
                  </a:schemeClr>
                </a:solidFill>
              </a:rPr>
              <a:t>Uni</a:t>
            </a:r>
            <a:r>
              <a:rPr lang="en-GB" sz="2800" b="1" dirty="0" smtClean="0">
                <a:solidFill>
                  <a:schemeClr val="bg2">
                    <a:lumMod val="75000"/>
                  </a:schemeClr>
                </a:solidFill>
              </a:rPr>
              <a:t> Research (Univ. in Bergen)</a:t>
            </a:r>
            <a:endParaRPr lang="en-GB" sz="2800" b="1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tabLst>
                <a:tab pos="723681" algn="l"/>
              </a:tabLst>
              <a:defRPr/>
            </a:pPr>
            <a:endParaRPr lang="en-GB" sz="2800" dirty="0" smtClean="0"/>
          </a:p>
          <a:p>
            <a:pPr marL="0" indent="0">
              <a:buNone/>
              <a:tabLst>
                <a:tab pos="723681" algn="l"/>
              </a:tabLst>
              <a:defRPr/>
            </a:pPr>
            <a:r>
              <a:rPr lang="en-GB" sz="2800" dirty="0" smtClean="0"/>
              <a:t> Main task: </a:t>
            </a:r>
            <a:r>
              <a:rPr lang="en-GB" sz="2800" dirty="0"/>
              <a:t>					</a:t>
            </a:r>
            <a:r>
              <a:rPr lang="en-GB" sz="2800" dirty="0" smtClean="0"/>
              <a:t>            </a:t>
            </a:r>
            <a:r>
              <a:rPr lang="en-GB" sz="2800" b="1" i="1" dirty="0" smtClean="0">
                <a:solidFill>
                  <a:srgbClr val="0090A8"/>
                </a:solidFill>
              </a:rPr>
              <a:t>Provide </a:t>
            </a:r>
            <a:r>
              <a:rPr lang="en-GB" sz="2800" b="1" i="1" dirty="0">
                <a:solidFill>
                  <a:srgbClr val="0090A8"/>
                </a:solidFill>
              </a:rPr>
              <a:t>decision makers in Norway with information relevant for climate adaptation </a:t>
            </a:r>
          </a:p>
          <a:p>
            <a:pPr marL="0" indent="0">
              <a:buNone/>
              <a:tabLst>
                <a:tab pos="723681" algn="l"/>
              </a:tabLst>
              <a:defRPr/>
            </a:pPr>
            <a:endParaRPr lang="en-GB" sz="2800" b="1" dirty="0"/>
          </a:p>
        </p:txBody>
      </p:sp>
      <p:sp>
        <p:nvSpPr>
          <p:cNvPr id="7" name="Plassholder for lysbildenummer 4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</p:spPr>
        <p:txBody>
          <a:bodyPr/>
          <a:lstStyle/>
          <a:p>
            <a:fld id="{D5ED987E-C9A5-4BD9-B8B4-14FB34A4F616}" type="slidenum">
              <a:rPr lang="nb-NO" smtClean="0"/>
              <a:pPr/>
              <a:t>2</a:t>
            </a:fld>
            <a:endParaRPr lang="nb-NO"/>
          </a:p>
        </p:txBody>
      </p:sp>
      <p:pic>
        <p:nvPicPr>
          <p:cNvPr id="2" name="Bild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6501" y="1999848"/>
            <a:ext cx="1348810" cy="482888"/>
          </a:xfrm>
          <a:prstGeom prst="rect">
            <a:avLst/>
          </a:prstGeom>
        </p:spPr>
      </p:pic>
      <p:pic>
        <p:nvPicPr>
          <p:cNvPr id="3" name="Bild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4272" y="2866369"/>
            <a:ext cx="642855" cy="564707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3902" y="3504363"/>
            <a:ext cx="1311409" cy="496278"/>
          </a:xfrm>
          <a:prstGeom prst="rect">
            <a:avLst/>
          </a:prstGeom>
        </p:spPr>
      </p:pic>
      <p:sp>
        <p:nvSpPr>
          <p:cNvPr id="9" name="Tittel 4"/>
          <p:cNvSpPr>
            <a:spLocks noGrp="1"/>
          </p:cNvSpPr>
          <p:nvPr>
            <p:ph type="title"/>
          </p:nvPr>
        </p:nvSpPr>
        <p:spPr>
          <a:xfrm>
            <a:off x="307978" y="515400"/>
            <a:ext cx="8513291" cy="553998"/>
          </a:xfrm>
        </p:spPr>
        <p:txBody>
          <a:bodyPr/>
          <a:lstStyle/>
          <a:p>
            <a:pPr algn="ctr"/>
            <a:r>
              <a:rPr lang="en-GB" sz="3600" dirty="0"/>
              <a:t>Norwegian Centre for Climate Services</a:t>
            </a:r>
            <a:endParaRPr lang="en-GB" sz="1600" b="0" dirty="0"/>
          </a:p>
        </p:txBody>
      </p:sp>
      <p:sp>
        <p:nvSpPr>
          <p:cNvPr id="4" name="AutoShape 2" descr="https://imap.met.no/service/home/~/image001.png?auth=co&amp;loc=no&amp;id=40938&amp;part=2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3" tIns="45708" rIns="91413" bIns="45708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sp>
        <p:nvSpPr>
          <p:cNvPr id="12" name="Tittel 3"/>
          <p:cNvSpPr txBox="1">
            <a:spLocks/>
          </p:cNvSpPr>
          <p:nvPr/>
        </p:nvSpPr>
        <p:spPr>
          <a:xfrm>
            <a:off x="416488" y="6182364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2928515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342" y="299956"/>
            <a:ext cx="8424936" cy="492443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r>
              <a:rPr lang="nb-NO" sz="3200" dirty="0" err="1">
                <a:solidFill>
                  <a:srgbClr val="002060"/>
                </a:solidFill>
              </a:rPr>
              <a:t>Tailored</a:t>
            </a:r>
            <a:r>
              <a:rPr lang="nb-NO" sz="3200" dirty="0">
                <a:solidFill>
                  <a:srgbClr val="002060"/>
                </a:solidFill>
              </a:rPr>
              <a:t> «</a:t>
            </a:r>
            <a:r>
              <a:rPr lang="nb-NO" sz="3200" dirty="0" err="1">
                <a:solidFill>
                  <a:srgbClr val="002060"/>
                </a:solidFill>
              </a:rPr>
              <a:t>Climate</a:t>
            </a:r>
            <a:r>
              <a:rPr lang="nb-NO" sz="3200" dirty="0">
                <a:solidFill>
                  <a:srgbClr val="002060"/>
                </a:solidFill>
              </a:rPr>
              <a:t> </a:t>
            </a:r>
            <a:r>
              <a:rPr lang="nb-NO" sz="3200" dirty="0" err="1">
                <a:solidFill>
                  <a:srgbClr val="002060"/>
                </a:solidFill>
              </a:rPr>
              <a:t>profiles</a:t>
            </a:r>
            <a:r>
              <a:rPr lang="nb-NO" sz="3200" dirty="0">
                <a:solidFill>
                  <a:srgbClr val="002060"/>
                </a:solidFill>
              </a:rPr>
              <a:t>» for </a:t>
            </a:r>
            <a:r>
              <a:rPr lang="nb-NO" sz="3200" dirty="0" err="1">
                <a:solidFill>
                  <a:srgbClr val="002060"/>
                </a:solidFill>
              </a:rPr>
              <a:t>each</a:t>
            </a:r>
            <a:r>
              <a:rPr lang="nb-NO" sz="3200" dirty="0">
                <a:solidFill>
                  <a:srgbClr val="002060"/>
                </a:solidFill>
              </a:rPr>
              <a:t> </a:t>
            </a:r>
            <a:r>
              <a:rPr lang="nb-NO" sz="3200" dirty="0" err="1">
                <a:solidFill>
                  <a:srgbClr val="002060"/>
                </a:solidFill>
              </a:rPr>
              <a:t>county</a:t>
            </a:r>
            <a:endParaRPr lang="nb-NO" sz="3200" dirty="0">
              <a:solidFill>
                <a:srgbClr val="002060"/>
              </a:solidFill>
            </a:endParaRP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17E8-1095-4EE2-AB79-00029BFE13D3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20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37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879" y="1197546"/>
            <a:ext cx="3648075" cy="4552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7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825" y="2885095"/>
            <a:ext cx="4027257" cy="3095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kstSylinder 5"/>
          <p:cNvSpPr txBox="1"/>
          <p:nvPr/>
        </p:nvSpPr>
        <p:spPr>
          <a:xfrm>
            <a:off x="2744595" y="3688417"/>
            <a:ext cx="2116230" cy="20620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 lIns="91413" tIns="45708" rIns="91413" bIns="45708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sz="1600" b="1" dirty="0"/>
              <a:t>Extreme </a:t>
            </a:r>
            <a:r>
              <a:rPr lang="nb-NO" sz="1600" b="1" dirty="0" err="1"/>
              <a:t>rainfall</a:t>
            </a:r>
            <a:endParaRPr lang="nb-NO" sz="16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sz="1600" b="1" dirty="0" err="1"/>
              <a:t>Strong</a:t>
            </a:r>
            <a:r>
              <a:rPr lang="nb-NO" sz="1600" b="1" dirty="0"/>
              <a:t> </a:t>
            </a:r>
            <a:r>
              <a:rPr lang="nb-NO" sz="1600" b="1" dirty="0" err="1"/>
              <a:t>winds</a:t>
            </a:r>
            <a:endParaRPr lang="nb-NO" sz="16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sz="1600" b="1" dirty="0" err="1"/>
              <a:t>Rain</a:t>
            </a:r>
            <a:r>
              <a:rPr lang="nb-NO" sz="1600" b="1" dirty="0"/>
              <a:t> </a:t>
            </a:r>
            <a:r>
              <a:rPr lang="nb-NO" sz="1600" b="1" dirty="0" err="1"/>
              <a:t>floods</a:t>
            </a:r>
            <a:endParaRPr lang="nb-NO" sz="16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sz="1600" b="1" dirty="0" err="1"/>
              <a:t>Snowmelt</a:t>
            </a:r>
            <a:r>
              <a:rPr lang="nb-NO" sz="1600" b="1" dirty="0"/>
              <a:t> </a:t>
            </a:r>
            <a:r>
              <a:rPr lang="nb-NO" sz="1600" b="1" dirty="0" err="1"/>
              <a:t>floods</a:t>
            </a:r>
            <a:endParaRPr lang="nb-NO" sz="16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sz="1600" b="1" dirty="0" err="1" smtClean="0"/>
              <a:t>Drought</a:t>
            </a:r>
            <a:endParaRPr lang="nb-NO" sz="16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sz="1600" b="1" dirty="0" smtClean="0"/>
              <a:t>Slides</a:t>
            </a:r>
            <a:endParaRPr lang="nb-NO" sz="16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sz="1600" b="1" dirty="0" smtClean="0"/>
              <a:t>Avalanches</a:t>
            </a:r>
            <a:endParaRPr lang="nb-NO" sz="16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sz="1600" b="1" dirty="0" smtClean="0"/>
              <a:t>Storm </a:t>
            </a:r>
            <a:r>
              <a:rPr lang="nb-NO" sz="1600" b="1" dirty="0" err="1"/>
              <a:t>surges</a:t>
            </a:r>
            <a:endParaRPr lang="nb-NO" sz="1600" b="1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5820" y="792399"/>
            <a:ext cx="2515365" cy="209999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26920517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86205" y="1197549"/>
            <a:ext cx="7373201" cy="1138773"/>
          </a:xfrm>
        </p:spPr>
        <p:txBody>
          <a:bodyPr/>
          <a:lstStyle/>
          <a:p>
            <a:r>
              <a:rPr lang="nb-NO" dirty="0" err="1" smtClean="0"/>
              <a:t>KRIGiS</a:t>
            </a:r>
            <a:r>
              <a:rPr lang="nb-NO" dirty="0" smtClean="0"/>
              <a:t>: </a:t>
            </a:r>
            <a:r>
              <a:rPr lang="nb-NO" dirty="0" err="1" smtClean="0"/>
              <a:t>Vulnerability</a:t>
            </a:r>
            <a:r>
              <a:rPr lang="nb-NO" dirty="0" smtClean="0"/>
              <a:t> / </a:t>
            </a:r>
            <a:r>
              <a:rPr lang="nb-NO" dirty="0" err="1" smtClean="0"/>
              <a:t>Impact</a:t>
            </a:r>
            <a:r>
              <a:rPr lang="nb-NO" dirty="0" smtClean="0"/>
              <a:t> Studies </a:t>
            </a:r>
            <a:r>
              <a:rPr lang="nb-NO" dirty="0" err="1" smtClean="0"/>
              <a:t>with</a:t>
            </a:r>
            <a:r>
              <a:rPr lang="nb-NO" dirty="0" smtClean="0"/>
              <a:t> a </a:t>
            </a:r>
            <a:r>
              <a:rPr lang="nb-NO" dirty="0" err="1" smtClean="0"/>
              <a:t>focus</a:t>
            </a:r>
            <a:r>
              <a:rPr lang="nb-NO" dirty="0" smtClean="0"/>
              <a:t> </a:t>
            </a:r>
            <a:r>
              <a:rPr lang="nb-NO" dirty="0" err="1" smtClean="0"/>
              <a:t>on</a:t>
            </a:r>
            <a:r>
              <a:rPr lang="nb-NO" dirty="0" smtClean="0"/>
              <a:t>: 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17E8-1095-4EE2-AB79-00029BFE13D3}" type="datetime1">
              <a:rPr lang="nb-NO" smtClean="0"/>
              <a:pPr/>
              <a:t>07.12.201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21</a:t>
            </a:fld>
            <a:endParaRPr lang="nb-NO" dirty="0"/>
          </a:p>
        </p:txBody>
      </p:sp>
      <p:sp>
        <p:nvSpPr>
          <p:cNvPr id="6" name="Rektangel 5"/>
          <p:cNvSpPr/>
          <p:nvPr/>
        </p:nvSpPr>
        <p:spPr>
          <a:xfrm>
            <a:off x="1404443" y="3105835"/>
            <a:ext cx="6581112" cy="14465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91413" tIns="45708" rIns="91413" bIns="45708">
            <a:spAutoFit/>
          </a:bodyPr>
          <a:lstStyle/>
          <a:p>
            <a:pPr marL="571329" indent="-571329">
              <a:buFont typeface="Wingdings" panose="05000000000000000000" pitchFamily="2" charset="2"/>
              <a:buChar char="Ø"/>
            </a:pPr>
            <a:r>
              <a:rPr lang="nb-NO" sz="4400" dirty="0" err="1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urism</a:t>
            </a:r>
            <a:endParaRPr lang="nb-NO" sz="4400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71329" indent="-571329">
              <a:buFont typeface="Wingdings" panose="05000000000000000000" pitchFamily="2" charset="2"/>
              <a:buChar char="Ø"/>
            </a:pPr>
            <a:r>
              <a:rPr lang="nb-NO" sz="4400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ritical </a:t>
            </a:r>
            <a:r>
              <a:rPr lang="nb-NO" sz="4400" dirty="0" err="1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rastructures</a:t>
            </a:r>
            <a:r>
              <a:rPr lang="nb-NO" sz="4400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</p:txBody>
      </p:sp>
      <p:sp>
        <p:nvSpPr>
          <p:cNvPr id="7" name="Tittel 3"/>
          <p:cNvSpPr txBox="1">
            <a:spLocks/>
          </p:cNvSpPr>
          <p:nvPr/>
        </p:nvSpPr>
        <p:spPr>
          <a:xfrm>
            <a:off x="39560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422" tIns="45713" rIns="91422" bIns="4571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2186016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>
            <a:off x="756370" y="1299171"/>
            <a:ext cx="7776864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91413" tIns="45708" rIns="91413" bIns="45708">
            <a:spAutoFit/>
          </a:bodyPr>
          <a:lstStyle/>
          <a:p>
            <a:r>
              <a:rPr lang="nb-NO" b="1" dirty="0"/>
              <a:t>Førland et al., </a:t>
            </a:r>
            <a:r>
              <a:rPr lang="nb-NO" b="1" dirty="0" smtClean="0"/>
              <a:t>2012:  </a:t>
            </a:r>
            <a:r>
              <a:rPr lang="en-US" b="1" i="1" dirty="0" smtClean="0"/>
              <a:t>Cool </a:t>
            </a:r>
            <a:r>
              <a:rPr lang="en-US" b="1" i="1" dirty="0"/>
              <a:t>weather tourism under global warming: Comparing Arctic summer tourists</a:t>
            </a:r>
            <a:r>
              <a:rPr lang="en-US" b="1" i="1" dirty="0" smtClean="0"/>
              <a:t>’ weather </a:t>
            </a:r>
            <a:r>
              <a:rPr lang="en-US" b="1" i="1" dirty="0"/>
              <a:t>preferences with regional climate statistics and </a:t>
            </a:r>
            <a:r>
              <a:rPr lang="en-US" b="1" i="1" dirty="0" smtClean="0"/>
              <a:t>projections</a:t>
            </a:r>
            <a:r>
              <a:rPr lang="en-US" b="1" dirty="0" smtClean="0"/>
              <a:t>. </a:t>
            </a:r>
            <a:r>
              <a:rPr lang="nb-NO" b="1" dirty="0" err="1" smtClean="0"/>
              <a:t>Tourism</a:t>
            </a:r>
            <a:r>
              <a:rPr lang="nb-NO" b="1" dirty="0" smtClean="0"/>
              <a:t> Management, 2012</a:t>
            </a:r>
            <a:endParaRPr lang="nb-NO" b="1" dirty="0"/>
          </a:p>
        </p:txBody>
      </p:sp>
      <p:pic>
        <p:nvPicPr>
          <p:cNvPr id="21094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4442" y="2868831"/>
            <a:ext cx="2520280" cy="33628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09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821" y="2709717"/>
            <a:ext cx="3844497" cy="28819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kstSylinder 2"/>
          <p:cNvSpPr txBox="1"/>
          <p:nvPr/>
        </p:nvSpPr>
        <p:spPr>
          <a:xfrm>
            <a:off x="2047577" y="405461"/>
            <a:ext cx="2776145" cy="7694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 lIns="91413" tIns="45708" rIns="91413" bIns="45708" rtlCol="0">
            <a:spAutoFit/>
          </a:bodyPr>
          <a:lstStyle/>
          <a:p>
            <a:pPr algn="ctr"/>
            <a:r>
              <a:rPr lang="nb-NO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URISM</a:t>
            </a:r>
          </a:p>
        </p:txBody>
      </p:sp>
      <p:sp>
        <p:nvSpPr>
          <p:cNvPr id="6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30118029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17E8-1095-4EE2-AB79-00029BFE13D3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23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495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8618" y="0"/>
            <a:ext cx="2507846" cy="1947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kstSylinder 5"/>
          <p:cNvSpPr txBox="1"/>
          <p:nvPr/>
        </p:nvSpPr>
        <p:spPr>
          <a:xfrm>
            <a:off x="2552130" y="4727773"/>
            <a:ext cx="6560386" cy="147732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b="1" dirty="0" err="1" smtClean="0"/>
              <a:t>Various</a:t>
            </a:r>
            <a:r>
              <a:rPr lang="nb-NO" b="1" dirty="0" smtClean="0"/>
              <a:t> temp, </a:t>
            </a:r>
            <a:r>
              <a:rPr lang="nb-NO" b="1" dirty="0" err="1" smtClean="0"/>
              <a:t>indicators</a:t>
            </a:r>
            <a:r>
              <a:rPr lang="nb-NO" b="1" dirty="0" smtClean="0"/>
              <a:t> (</a:t>
            </a:r>
            <a:r>
              <a:rPr lang="nb-NO" b="1" dirty="0" err="1" smtClean="0"/>
              <a:t>Mean</a:t>
            </a:r>
            <a:r>
              <a:rPr lang="nb-NO" b="1" dirty="0" smtClean="0"/>
              <a:t>, </a:t>
            </a:r>
            <a:r>
              <a:rPr lang="nb-NO" b="1" dirty="0" err="1" smtClean="0"/>
              <a:t>cold</a:t>
            </a:r>
            <a:r>
              <a:rPr lang="nb-NO" b="1" dirty="0" smtClean="0"/>
              <a:t>-mild-</a:t>
            </a:r>
            <a:r>
              <a:rPr lang="nb-NO" b="1" dirty="0" err="1" smtClean="0"/>
              <a:t>warm</a:t>
            </a:r>
            <a:r>
              <a:rPr lang="nb-NO" b="1" dirty="0" smtClean="0"/>
              <a:t> </a:t>
            </a:r>
            <a:r>
              <a:rPr lang="nb-NO" b="1" dirty="0" err="1" smtClean="0"/>
              <a:t>days</a:t>
            </a:r>
            <a:r>
              <a:rPr lang="nb-NO" b="1" dirty="0" smtClean="0"/>
              <a:t>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b="1" dirty="0" err="1" smtClean="0"/>
              <a:t>Various</a:t>
            </a:r>
            <a:r>
              <a:rPr lang="nb-NO" b="1" dirty="0" smtClean="0"/>
              <a:t> </a:t>
            </a:r>
            <a:r>
              <a:rPr lang="nb-NO" b="1" dirty="0" err="1" smtClean="0"/>
              <a:t>rainfall</a:t>
            </a:r>
            <a:r>
              <a:rPr lang="nb-NO" b="1" dirty="0" smtClean="0"/>
              <a:t> </a:t>
            </a:r>
            <a:r>
              <a:rPr lang="nb-NO" b="1" dirty="0" err="1" smtClean="0"/>
              <a:t>indicators</a:t>
            </a:r>
            <a:r>
              <a:rPr lang="nb-NO" b="1" dirty="0" smtClean="0"/>
              <a:t> (total, </a:t>
            </a:r>
            <a:r>
              <a:rPr lang="nb-NO" b="1" dirty="0" err="1" smtClean="0"/>
              <a:t>wet</a:t>
            </a:r>
            <a:r>
              <a:rPr lang="nb-NO" b="1" dirty="0" smtClean="0"/>
              <a:t> </a:t>
            </a:r>
            <a:r>
              <a:rPr lang="nb-NO" b="1" dirty="0" err="1" smtClean="0"/>
              <a:t>day</a:t>
            </a:r>
            <a:r>
              <a:rPr lang="nb-NO" b="1" dirty="0" smtClean="0"/>
              <a:t>, </a:t>
            </a:r>
            <a:r>
              <a:rPr lang="nb-NO" b="1" dirty="0" err="1" smtClean="0"/>
              <a:t>heavy</a:t>
            </a:r>
            <a:r>
              <a:rPr lang="nb-NO" b="1" dirty="0" smtClean="0"/>
              <a:t> </a:t>
            </a:r>
            <a:r>
              <a:rPr lang="nb-NO" b="1" dirty="0" err="1" smtClean="0"/>
              <a:t>rainfall</a:t>
            </a:r>
            <a:r>
              <a:rPr lang="nb-NO" b="1" dirty="0" smtClean="0"/>
              <a:t>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b="1" dirty="0" err="1" smtClean="0"/>
              <a:t>Cloudiness</a:t>
            </a:r>
            <a:r>
              <a:rPr lang="nb-NO" b="1" dirty="0" smtClean="0"/>
              <a:t> (</a:t>
            </a:r>
            <a:r>
              <a:rPr lang="nb-NO" b="1" dirty="0" err="1" smtClean="0"/>
              <a:t>Overcast</a:t>
            </a:r>
            <a:r>
              <a:rPr lang="nb-NO" b="1" dirty="0" smtClean="0"/>
              <a:t> / </a:t>
            </a:r>
            <a:r>
              <a:rPr lang="nb-NO" b="1" dirty="0" err="1" smtClean="0"/>
              <a:t>sunny</a:t>
            </a:r>
            <a:r>
              <a:rPr lang="nb-NO" b="1" dirty="0" smtClean="0"/>
              <a:t> </a:t>
            </a:r>
            <a:r>
              <a:rPr lang="nb-NO" b="1" dirty="0" err="1" smtClean="0"/>
              <a:t>days</a:t>
            </a:r>
            <a:r>
              <a:rPr lang="nb-NO" b="1" dirty="0" smtClean="0"/>
              <a:t>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b="1" dirty="0"/>
              <a:t>Days </a:t>
            </a:r>
            <a:r>
              <a:rPr lang="nb-NO" b="1" dirty="0" err="1"/>
              <a:t>with</a:t>
            </a:r>
            <a:r>
              <a:rPr lang="nb-NO" b="1" dirty="0"/>
              <a:t> </a:t>
            </a:r>
            <a:r>
              <a:rPr lang="nb-NO" b="1" dirty="0" err="1"/>
              <a:t>reduced</a:t>
            </a:r>
            <a:r>
              <a:rPr lang="nb-NO" b="1" dirty="0"/>
              <a:t> </a:t>
            </a:r>
            <a:r>
              <a:rPr lang="nb-NO" b="1" dirty="0" err="1" smtClean="0"/>
              <a:t>visibility</a:t>
            </a:r>
            <a:r>
              <a:rPr lang="nb-NO" b="1" dirty="0" smtClean="0"/>
              <a:t> (</a:t>
            </a:r>
            <a:r>
              <a:rPr lang="nb-NO" b="1" dirty="0" err="1" smtClean="0"/>
              <a:t>fog</a:t>
            </a:r>
            <a:r>
              <a:rPr lang="nb-NO" b="1" dirty="0" smtClean="0"/>
              <a:t> / </a:t>
            </a:r>
            <a:r>
              <a:rPr lang="nb-NO" b="1" dirty="0" err="1" smtClean="0"/>
              <a:t>drizzle</a:t>
            </a:r>
            <a:r>
              <a:rPr lang="nb-NO" b="1" dirty="0" smtClean="0"/>
              <a:t>)</a:t>
            </a:r>
            <a:endParaRPr lang="nb-NO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b="1" dirty="0" smtClean="0"/>
              <a:t>Nights </a:t>
            </a:r>
            <a:r>
              <a:rPr lang="nb-NO" b="1" dirty="0" err="1" smtClean="0"/>
              <a:t>with</a:t>
            </a:r>
            <a:r>
              <a:rPr lang="nb-NO" b="1" dirty="0" smtClean="0"/>
              <a:t> </a:t>
            </a:r>
            <a:r>
              <a:rPr lang="nb-NO" b="1" dirty="0" err="1" smtClean="0"/>
              <a:t>midnigth</a:t>
            </a:r>
            <a:r>
              <a:rPr lang="nb-NO" b="1" dirty="0" smtClean="0"/>
              <a:t> </a:t>
            </a:r>
            <a:r>
              <a:rPr lang="nb-NO" b="1" dirty="0" err="1" smtClean="0"/>
              <a:t>sun</a:t>
            </a:r>
            <a:r>
              <a:rPr lang="nb-NO" b="1" dirty="0" smtClean="0"/>
              <a:t>! </a:t>
            </a:r>
            <a:endParaRPr lang="en-US" dirty="0"/>
          </a:p>
        </p:txBody>
      </p:sp>
      <p:sp>
        <p:nvSpPr>
          <p:cNvPr id="7" name="TekstSylinder 6"/>
          <p:cNvSpPr txBox="1"/>
          <p:nvPr/>
        </p:nvSpPr>
        <p:spPr>
          <a:xfrm>
            <a:off x="3708698" y="2393321"/>
            <a:ext cx="4955203" cy="23083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b="1" dirty="0" smtClean="0"/>
              <a:t>Responders characteristics (N~1000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dirty="0" smtClean="0"/>
              <a:t>Gender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dirty="0" smtClean="0"/>
              <a:t>Educational level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dirty="0" smtClean="0"/>
              <a:t>Ag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dirty="0" smtClean="0"/>
              <a:t>Country of </a:t>
            </a:r>
            <a:r>
              <a:rPr lang="en-US" b="1" dirty="0" smtClean="0"/>
              <a:t>residence</a:t>
            </a:r>
            <a:endParaRPr lang="en-US" b="1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dirty="0" smtClean="0"/>
              <a:t>First visit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dirty="0" smtClean="0"/>
              <a:t>Planned / undertaken activities:</a:t>
            </a:r>
          </a:p>
          <a:p>
            <a:r>
              <a:rPr lang="en-US" b="1" dirty="0" smtClean="0"/>
              <a:t>(sightseeing/hiking/fishing/</a:t>
            </a:r>
            <a:r>
              <a:rPr lang="en-US" b="1" dirty="0" err="1" smtClean="0"/>
              <a:t>whalewatching</a:t>
            </a:r>
            <a:r>
              <a:rPr lang="nb-NO" dirty="0" smtClean="0"/>
              <a:t>)</a:t>
            </a:r>
            <a:endParaRPr lang="en-US" dirty="0"/>
          </a:p>
        </p:txBody>
      </p:sp>
      <p:pic>
        <p:nvPicPr>
          <p:cNvPr id="149509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967" y="549474"/>
            <a:ext cx="2431619" cy="3438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951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938" y="235162"/>
            <a:ext cx="3152490" cy="2090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9511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437904"/>
            <a:ext cx="2388725" cy="15841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926771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83" y="1341082"/>
            <a:ext cx="8231029" cy="4786503"/>
          </a:xfrm>
        </p:spPr>
        <p:txBody>
          <a:bodyPr/>
          <a:lstStyle/>
          <a:p>
            <a:pPr marL="0" indent="0">
              <a:buNone/>
            </a:pPr>
            <a:endParaRPr lang="nb-NO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4"/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5"/>
            <a:endParaRPr lang="nb-NO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6"/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7"/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93293" y="137825"/>
            <a:ext cx="8231029" cy="922328"/>
          </a:xfrm>
        </p:spPr>
        <p:txBody>
          <a:bodyPr>
            <a:normAutofit fontScale="90000"/>
          </a:bodyPr>
          <a:lstStyle/>
          <a:p>
            <a:r>
              <a:rPr lang="nb-NO" dirty="0" err="1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now</a:t>
            </a:r>
            <a:r>
              <a:rPr lang="nb-NO" dirty="0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dirty="0" err="1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son</a:t>
            </a:r>
            <a:r>
              <a:rPr lang="nb-NO" dirty="0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dirty="0" err="1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</a:t>
            </a:r>
            <a:r>
              <a:rPr lang="nb-NO" dirty="0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e </a:t>
            </a:r>
            <a:r>
              <a:rPr lang="nb-NO" dirty="0" err="1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er</a:t>
            </a:r>
            <a:r>
              <a:rPr lang="nb-NO" dirty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nb-NO" dirty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2700" dirty="0" err="1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s</a:t>
            </a:r>
            <a:r>
              <a:rPr lang="nb-NO" sz="2700" dirty="0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nb-NO" sz="2700" dirty="0" err="1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ber</a:t>
            </a:r>
            <a:r>
              <a:rPr lang="nb-NO" sz="2700" dirty="0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700" dirty="0" err="1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nb-NO" sz="2700" dirty="0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700" dirty="0" err="1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ys</a:t>
            </a:r>
            <a:r>
              <a:rPr lang="nb-NO" sz="2700" dirty="0" smtClean="0">
                <a:solidFill>
                  <a:srgbClr val="1D69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from </a:t>
            </a:r>
            <a:r>
              <a:rPr lang="nb-NO" sz="2700" dirty="0" smtClean="0">
                <a:solidFill>
                  <a:srgbClr val="1D6936"/>
                </a:solidFill>
              </a:rPr>
              <a:t>1971-2000 to </a:t>
            </a:r>
            <a:r>
              <a:rPr lang="nb-NO" sz="2700" dirty="0">
                <a:solidFill>
                  <a:srgbClr val="1D6936"/>
                </a:solidFill>
              </a:rPr>
              <a:t>2071-2100</a:t>
            </a:r>
            <a:endParaRPr lang="nb-NO" sz="2700" dirty="0">
              <a:solidFill>
                <a:srgbClr val="1D69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tel 3"/>
          <p:cNvSpPr txBox="1">
            <a:spLocks/>
          </p:cNvSpPr>
          <p:nvPr/>
        </p:nvSpPr>
        <p:spPr>
          <a:xfrm>
            <a:off x="39560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422" tIns="45713" rIns="91422" bIns="4571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sk klimaservicesenter 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373" y="1140827"/>
            <a:ext cx="8138318" cy="5142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kstSylinder 8"/>
          <p:cNvSpPr txBox="1"/>
          <p:nvPr/>
        </p:nvSpPr>
        <p:spPr>
          <a:xfrm>
            <a:off x="1491007" y="1701202"/>
            <a:ext cx="992543" cy="369318"/>
          </a:xfrm>
          <a:prstGeom prst="rect">
            <a:avLst/>
          </a:prstGeom>
          <a:noFill/>
        </p:spPr>
        <p:txBody>
          <a:bodyPr wrap="none" lIns="91422" tIns="45713" rIns="91422" bIns="45713" rtlCol="0">
            <a:spAutoFit/>
          </a:bodyPr>
          <a:lstStyle/>
          <a:p>
            <a:r>
              <a:rPr lang="nb-NO" b="1" dirty="0" smtClean="0">
                <a:solidFill>
                  <a:srgbClr val="0070C0"/>
                </a:solidFill>
              </a:rPr>
              <a:t>RCP4.5</a:t>
            </a:r>
            <a:endParaRPr lang="nb-NO" b="1" dirty="0">
              <a:solidFill>
                <a:srgbClr val="0070C0"/>
              </a:solidFill>
            </a:endParaRPr>
          </a:p>
        </p:txBody>
      </p:sp>
      <p:sp>
        <p:nvSpPr>
          <p:cNvPr id="13" name="TekstSylinder 12"/>
          <p:cNvSpPr txBox="1"/>
          <p:nvPr/>
        </p:nvSpPr>
        <p:spPr>
          <a:xfrm>
            <a:off x="5437040" y="1701202"/>
            <a:ext cx="992543" cy="369318"/>
          </a:xfrm>
          <a:prstGeom prst="rect">
            <a:avLst/>
          </a:prstGeom>
          <a:noFill/>
        </p:spPr>
        <p:txBody>
          <a:bodyPr wrap="none" lIns="91422" tIns="45713" rIns="91422" bIns="45713" rtlCol="0">
            <a:spAutoFit/>
          </a:bodyPr>
          <a:lstStyle/>
          <a:p>
            <a:r>
              <a:rPr lang="nb-NO" b="1" dirty="0" smtClean="0">
                <a:solidFill>
                  <a:srgbClr val="FF0000"/>
                </a:solidFill>
              </a:rPr>
              <a:t>RCP8.5</a:t>
            </a:r>
            <a:endParaRPr lang="nb-NO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3943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0808" y="2903711"/>
            <a:ext cx="4468524" cy="3091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625" y="966723"/>
            <a:ext cx="2761401" cy="4030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ktangel 1"/>
          <p:cNvSpPr/>
          <p:nvPr/>
        </p:nvSpPr>
        <p:spPr>
          <a:xfrm>
            <a:off x="395618" y="5014337"/>
            <a:ext cx="2521043" cy="70779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91332" tIns="45673" rIns="91332" bIns="45673">
            <a:spAutoFit/>
          </a:bodyPr>
          <a:lstStyle/>
          <a:p>
            <a:r>
              <a:rPr lang="en-US" sz="2000" b="1" dirty="0" smtClean="0"/>
              <a:t>Reference period</a:t>
            </a:r>
          </a:p>
          <a:p>
            <a:r>
              <a:rPr lang="en-US" sz="2000" b="1" dirty="0" smtClean="0"/>
              <a:t> 1971–2000</a:t>
            </a:r>
            <a:endParaRPr lang="en-US" sz="2000" b="1" dirty="0"/>
          </a:p>
        </p:txBody>
      </p:sp>
      <p:sp>
        <p:nvSpPr>
          <p:cNvPr id="3" name="Rektangel 2"/>
          <p:cNvSpPr/>
          <p:nvPr/>
        </p:nvSpPr>
        <p:spPr>
          <a:xfrm>
            <a:off x="3872862" y="2361840"/>
            <a:ext cx="3744416" cy="40001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91332" tIns="45673" rIns="91332" bIns="45673">
            <a:spAutoFit/>
          </a:bodyPr>
          <a:lstStyle/>
          <a:p>
            <a:r>
              <a:rPr lang="en-US" sz="2000" b="1" dirty="0" smtClean="0"/>
              <a:t>Scenario period  2071–2100 </a:t>
            </a:r>
            <a:endParaRPr lang="en-US" sz="2000" b="1" dirty="0"/>
          </a:p>
        </p:txBody>
      </p:sp>
      <p:sp>
        <p:nvSpPr>
          <p:cNvPr id="4" name="TekstSylinder 3"/>
          <p:cNvSpPr txBox="1"/>
          <p:nvPr/>
        </p:nvSpPr>
        <p:spPr>
          <a:xfrm>
            <a:off x="649029" y="184326"/>
            <a:ext cx="7337047" cy="861679"/>
          </a:xfrm>
          <a:prstGeom prst="rect">
            <a:avLst/>
          </a:prstGeom>
          <a:solidFill>
            <a:srgbClr val="EDA5B6"/>
          </a:solidFill>
        </p:spPr>
        <p:txBody>
          <a:bodyPr wrap="none" lIns="91332" tIns="45673" rIns="91332" bIns="45673" rtlCol="0">
            <a:spAutoFit/>
          </a:bodyPr>
          <a:lstStyle/>
          <a:p>
            <a:pPr algn="ctr"/>
            <a:r>
              <a:rPr lang="en-US" sz="3200" dirty="0" smtClean="0"/>
              <a:t>Changes in «Hot summer days»</a:t>
            </a:r>
          </a:p>
          <a:p>
            <a:pPr algn="ctr"/>
            <a:r>
              <a:rPr lang="en-US" dirty="0" smtClean="0"/>
              <a:t>Mean number of days per year with daily mean temperature &gt; 20 °C</a:t>
            </a:r>
            <a:endParaRPr lang="en-US" sz="3200" dirty="0"/>
          </a:p>
        </p:txBody>
      </p:sp>
      <p:sp>
        <p:nvSpPr>
          <p:cNvPr id="7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sk klimaservicesenter </a:t>
            </a:r>
          </a:p>
        </p:txBody>
      </p:sp>
      <p:sp>
        <p:nvSpPr>
          <p:cNvPr id="5" name="Rektangel 4"/>
          <p:cNvSpPr/>
          <p:nvPr/>
        </p:nvSpPr>
        <p:spPr>
          <a:xfrm>
            <a:off x="3821262" y="3059668"/>
            <a:ext cx="9925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RCP4.5</a:t>
            </a:r>
          </a:p>
        </p:txBody>
      </p:sp>
      <p:sp>
        <p:nvSpPr>
          <p:cNvPr id="6" name="Rektangel 5"/>
          <p:cNvSpPr/>
          <p:nvPr/>
        </p:nvSpPr>
        <p:spPr>
          <a:xfrm>
            <a:off x="6058707" y="3083973"/>
            <a:ext cx="9925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RCP8.5</a:t>
            </a:r>
          </a:p>
        </p:txBody>
      </p:sp>
    </p:spTree>
    <p:extLst>
      <p:ext uri="{BB962C8B-B14F-4D97-AF65-F5344CB8AC3E}">
        <p14:creationId xmlns:p14="http://schemas.microsoft.com/office/powerpoint/2010/main" val="10590838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17E8-1095-4EE2-AB79-00029BFE13D3}" type="datetime1">
              <a:rPr lang="nb-NO" smtClean="0"/>
              <a:pPr/>
              <a:t>07.12.201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26</a:t>
            </a:fld>
            <a:endParaRPr lang="nb-NO" dirty="0"/>
          </a:p>
        </p:txBody>
      </p:sp>
      <p:pic>
        <p:nvPicPr>
          <p:cNvPr id="3471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9651" y="1773610"/>
            <a:ext cx="4282189" cy="25083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202" y="1039073"/>
            <a:ext cx="4022354" cy="27507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24" y="1513446"/>
            <a:ext cx="3963520" cy="2683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6417" y="1485578"/>
            <a:ext cx="4088489" cy="2796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713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948" y="3916869"/>
            <a:ext cx="3794929" cy="2150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538" y="4189078"/>
            <a:ext cx="3794680" cy="2193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8040" y="2394665"/>
            <a:ext cx="4777673" cy="3583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ekstSylinder 12"/>
          <p:cNvSpPr txBox="1"/>
          <p:nvPr/>
        </p:nvSpPr>
        <p:spPr>
          <a:xfrm>
            <a:off x="349230" y="236483"/>
            <a:ext cx="8440003" cy="7694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 lIns="91413" tIns="45708" rIns="91413" bIns="45708" rtlCol="0">
            <a:spAutoFit/>
          </a:bodyPr>
          <a:lstStyle/>
          <a:p>
            <a:pPr algn="ctr"/>
            <a:r>
              <a:rPr lang="nb-NO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RITICAL INFRASTRUCTURES</a:t>
            </a:r>
          </a:p>
        </p:txBody>
      </p:sp>
      <p:sp>
        <p:nvSpPr>
          <p:cNvPr id="14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2927129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72" y="1082565"/>
            <a:ext cx="2818262" cy="400341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ktangel 3"/>
          <p:cNvSpPr/>
          <p:nvPr/>
        </p:nvSpPr>
        <p:spPr>
          <a:xfrm>
            <a:off x="3364784" y="4953626"/>
            <a:ext cx="5237391" cy="830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91413" tIns="45709" rIns="91413" bIns="45709">
            <a:spAutoFit/>
          </a:bodyPr>
          <a:lstStyle/>
          <a:p>
            <a:r>
              <a:rPr lang="en-US" sz="2400" b="1" dirty="0" smtClean="0">
                <a:latin typeface="Arial"/>
                <a:ea typeface="Arial"/>
              </a:rPr>
              <a:t>IDF-values for return period T=200 years for region 4 «</a:t>
            </a:r>
            <a:r>
              <a:rPr lang="en-US" sz="2400" b="1" dirty="0" err="1" smtClean="0">
                <a:latin typeface="Arial"/>
                <a:ea typeface="Arial"/>
              </a:rPr>
              <a:t>Sørlandet</a:t>
            </a:r>
            <a:r>
              <a:rPr lang="nb-NO" sz="2400" b="1" dirty="0" smtClean="0">
                <a:latin typeface="Arial"/>
                <a:ea typeface="Arial"/>
              </a:rPr>
              <a:t>» </a:t>
            </a:r>
            <a:endParaRPr lang="nb-NO" sz="2400" b="1" dirty="0"/>
          </a:p>
        </p:txBody>
      </p:sp>
      <p:sp>
        <p:nvSpPr>
          <p:cNvPr id="5" name="Rektangel 4"/>
          <p:cNvSpPr/>
          <p:nvPr/>
        </p:nvSpPr>
        <p:spPr>
          <a:xfrm>
            <a:off x="756066" y="5085978"/>
            <a:ext cx="2016907" cy="46164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91413" tIns="45709" rIns="91413" bIns="45709">
            <a:spAutoFit/>
          </a:bodyPr>
          <a:lstStyle/>
          <a:p>
            <a:r>
              <a:rPr lang="nb-NO" sz="2400" b="1" dirty="0" smtClean="0">
                <a:latin typeface="Arial"/>
                <a:ea typeface="Arial"/>
              </a:rPr>
              <a:t>IDF-Regions</a:t>
            </a:r>
            <a:endParaRPr lang="nb-NO" dirty="0"/>
          </a:p>
        </p:txBody>
      </p:sp>
      <p:sp>
        <p:nvSpPr>
          <p:cNvPr id="6" name="Tittel 3"/>
          <p:cNvSpPr txBox="1">
            <a:spLocks/>
          </p:cNvSpPr>
          <p:nvPr/>
        </p:nvSpPr>
        <p:spPr>
          <a:xfrm>
            <a:off x="314372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sk klimaservicesenter </a:t>
            </a:r>
          </a:p>
        </p:txBody>
      </p:sp>
      <p:sp>
        <p:nvSpPr>
          <p:cNvPr id="8" name="TekstSylinder 7"/>
          <p:cNvSpPr txBox="1"/>
          <p:nvPr/>
        </p:nvSpPr>
        <p:spPr>
          <a:xfrm>
            <a:off x="1476450" y="220792"/>
            <a:ext cx="6330579" cy="86177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3200" b="1" dirty="0" smtClean="0"/>
              <a:t>Design values for heavy rainfall</a:t>
            </a:r>
          </a:p>
          <a:p>
            <a:r>
              <a:rPr lang="en-US" dirty="0" smtClean="0"/>
              <a:t>(IDF = Intensity – Duration - Frequency)</a:t>
            </a:r>
            <a:endParaRPr lang="en-US" dirty="0"/>
          </a:p>
        </p:txBody>
      </p:sp>
      <p:pic>
        <p:nvPicPr>
          <p:cNvPr id="9" name="Bilde 8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5843" y="1265468"/>
            <a:ext cx="5375275" cy="351218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01036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84372" y="546199"/>
            <a:ext cx="7791033" cy="492443"/>
          </a:xfrm>
          <a:solidFill>
            <a:schemeClr val="accent4">
              <a:lumMod val="20000"/>
              <a:lumOff val="80000"/>
            </a:schemeClr>
          </a:solidFill>
        </p:spPr>
        <p:txBody>
          <a:bodyPr/>
          <a:lstStyle/>
          <a:p>
            <a:r>
              <a:rPr lang="nb-NO" sz="3200" dirty="0"/>
              <a:t>1-hour </a:t>
            </a:r>
            <a:r>
              <a:rPr lang="nb-NO" sz="3200" dirty="0" err="1"/>
              <a:t>rainfall</a:t>
            </a:r>
            <a:r>
              <a:rPr lang="nb-NO" sz="3200" dirty="0"/>
              <a:t> Oslo-Blindern 1968-2014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17E8-1095-4EE2-AB79-00029BFE13D3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28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6" name="Bilde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519" y="1197546"/>
            <a:ext cx="4803268" cy="2376264"/>
          </a:xfrm>
          <a:prstGeom prst="rect">
            <a:avLst/>
          </a:prstGeom>
          <a:noFill/>
        </p:spPr>
      </p:pic>
      <p:pic>
        <p:nvPicPr>
          <p:cNvPr id="7" name="Bilde 6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2573" y="3609610"/>
            <a:ext cx="5010418" cy="2736304"/>
          </a:xfrm>
          <a:prstGeom prst="rect">
            <a:avLst/>
          </a:prstGeom>
          <a:noFill/>
        </p:spPr>
      </p:pic>
      <p:sp>
        <p:nvSpPr>
          <p:cNvPr id="8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10898592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4294967295"/>
          </p:nvPr>
        </p:nvSpPr>
        <p:spPr>
          <a:xfrm>
            <a:off x="886202" y="6478906"/>
            <a:ext cx="1331835" cy="123111"/>
          </a:xfrm>
          <a:prstGeom prst="rect">
            <a:avLst/>
          </a:prstGeom>
        </p:spPr>
        <p:txBody>
          <a:bodyPr/>
          <a:lstStyle/>
          <a:p>
            <a:fld id="{FC25FE5B-B5ED-4BD3-8F99-56CEBAFE15BA}" type="datetime1">
              <a:rPr lang="de-CH" smtClean="0">
                <a:solidFill>
                  <a:prstClr val="black"/>
                </a:solidFill>
              </a:rPr>
              <a:pPr/>
              <a:t>07.12.2015</a:t>
            </a:fld>
            <a:endParaRPr lang="de-CH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4294967295"/>
          </p:nvPr>
        </p:nvSpPr>
        <p:spPr>
          <a:xfrm>
            <a:off x="2218072" y="6478906"/>
            <a:ext cx="4684170" cy="123111"/>
          </a:xfrm>
          <a:prstGeom prst="rect">
            <a:avLst/>
          </a:prstGeom>
        </p:spPr>
        <p:txBody>
          <a:bodyPr/>
          <a:lstStyle/>
          <a:p>
            <a:endParaRPr lang="de-CH">
              <a:solidFill>
                <a:prstClr val="black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294967295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/>
          <a:lstStyle/>
          <a:p>
            <a:fld id="{3A0E37F4-8F77-4F23-9E8B-CDCFCDE1E699}" type="slidenum">
              <a:rPr lang="de-CH" smtClean="0">
                <a:solidFill>
                  <a:prstClr val="black"/>
                </a:solidFill>
              </a:rPr>
              <a:pPr/>
              <a:t>29</a:t>
            </a:fld>
            <a:endParaRPr lang="de-CH">
              <a:solidFill>
                <a:prstClr val="black"/>
              </a:solidFill>
            </a:endParaRPr>
          </a:p>
        </p:txBody>
      </p:sp>
      <p:sp>
        <p:nvSpPr>
          <p:cNvPr id="8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  <p:graphicFrame>
        <p:nvGraphicFramePr>
          <p:cNvPr id="6" name="Tabel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5509106"/>
              </p:ext>
            </p:extLst>
          </p:nvPr>
        </p:nvGraphicFramePr>
        <p:xfrm>
          <a:off x="684364" y="2061642"/>
          <a:ext cx="7992885" cy="3542850"/>
        </p:xfrm>
        <a:graphic>
          <a:graphicData uri="http://schemas.openxmlformats.org/drawingml/2006/table">
            <a:tbl>
              <a:tblPr firstRow="1" firstCol="1" bandRow="1"/>
              <a:tblGrid>
                <a:gridCol w="2430581"/>
                <a:gridCol w="860889"/>
                <a:gridCol w="860889"/>
                <a:gridCol w="860889"/>
                <a:gridCol w="369227"/>
                <a:gridCol w="860889"/>
                <a:gridCol w="860889"/>
                <a:gridCol w="888632"/>
              </a:tblGrid>
              <a:tr h="3600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 err="1" smtClean="0">
                          <a:effectLst/>
                          <a:latin typeface="Arial"/>
                          <a:ea typeface="Arial"/>
                          <a:cs typeface="Arial"/>
                        </a:rPr>
                        <a:t>Highest</a:t>
                      </a:r>
                      <a:r>
                        <a:rPr lang="nb-NO" sz="1400" b="1" dirty="0" smtClean="0">
                          <a:effectLst/>
                          <a:latin typeface="Arial"/>
                          <a:ea typeface="Arial"/>
                          <a:cs typeface="Arial"/>
                        </a:rPr>
                        <a:t> </a:t>
                      </a:r>
                      <a:r>
                        <a:rPr lang="nb-NO" sz="1400" b="1" dirty="0" err="1" smtClean="0">
                          <a:effectLst/>
                          <a:latin typeface="Arial"/>
                          <a:ea typeface="Arial"/>
                          <a:cs typeface="Arial"/>
                        </a:rPr>
                        <a:t>annual</a:t>
                      </a:r>
                      <a:r>
                        <a:rPr lang="nb-NO" sz="1400" b="1" dirty="0" smtClean="0">
                          <a:effectLst/>
                          <a:latin typeface="Arial"/>
                          <a:ea typeface="Arial"/>
                          <a:cs typeface="Arial"/>
                        </a:rPr>
                        <a:t> </a:t>
                      </a:r>
                      <a:r>
                        <a:rPr lang="nb-NO" sz="1400" b="1" dirty="0" err="1" smtClean="0">
                          <a:effectLst/>
                          <a:latin typeface="Arial"/>
                          <a:ea typeface="Arial"/>
                          <a:cs typeface="Arial"/>
                        </a:rPr>
                        <a:t>value</a:t>
                      </a:r>
                      <a:endParaRPr lang="nb-NO" sz="1400" b="1" dirty="0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Peak Over Threshold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</a:tr>
              <a:tr h="4470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 err="1" smtClean="0">
                          <a:effectLst/>
                          <a:latin typeface="Arial"/>
                          <a:ea typeface="Arial"/>
                          <a:cs typeface="Arial"/>
                        </a:rPr>
                        <a:t>Duration</a:t>
                      </a:r>
                      <a:r>
                        <a:rPr lang="nb-NO" sz="1400" b="1" dirty="0" smtClean="0">
                          <a:effectLst/>
                          <a:latin typeface="Arial"/>
                          <a:ea typeface="Arial"/>
                          <a:cs typeface="Arial"/>
                        </a:rPr>
                        <a:t> </a:t>
                      </a: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(</a:t>
                      </a:r>
                      <a:r>
                        <a:rPr lang="nb-NO" sz="1400" b="1" dirty="0" err="1" smtClean="0">
                          <a:effectLst/>
                          <a:latin typeface="Arial"/>
                          <a:ea typeface="Arial"/>
                          <a:cs typeface="Arial"/>
                        </a:rPr>
                        <a:t>minutes</a:t>
                      </a:r>
                      <a:r>
                        <a:rPr lang="nb-NO" sz="1400" b="1" dirty="0" smtClean="0">
                          <a:effectLst/>
                          <a:latin typeface="Arial"/>
                          <a:ea typeface="Arial"/>
                          <a:cs typeface="Arial"/>
                        </a:rPr>
                        <a:t>)</a:t>
                      </a:r>
                      <a:endParaRPr lang="nb-NO" sz="1400" b="1" dirty="0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1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3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6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1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3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6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</a:tr>
              <a:tr h="2735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4781 Gardermoen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solidFill>
                            <a:srgbClr val="FABF8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  <a:endParaRPr lang="nb-NO" sz="1400" b="1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solidFill>
                            <a:srgbClr val="FABF8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  <a:endParaRPr lang="nb-NO" sz="1400" b="1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</a:tr>
              <a:tr h="2735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2290 Hama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solidFill>
                            <a:srgbClr val="FABF8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  <a:endParaRPr lang="nb-NO" sz="1400" b="1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solidFill>
                            <a:srgbClr val="FABF8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  <a:endParaRPr lang="nb-NO" sz="1400" b="1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solidFill>
                            <a:srgbClr val="FABF8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  <a:endParaRPr lang="nb-NO" sz="1400" b="1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</a:tr>
              <a:tr h="2735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7870 Å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solidFill>
                            <a:srgbClr val="FABF8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  <a:endParaRPr lang="nb-NO" sz="1400" b="1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solidFill>
                            <a:srgbClr val="FABF8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  <a:endParaRPr lang="nb-NO" sz="1400" b="1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solidFill>
                            <a:srgbClr val="FABF8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  <a:endParaRPr lang="nb-NO" sz="1400" b="1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  <a:tr h="2735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8020 Oslo-Lambertsete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</a:tr>
              <a:tr h="2735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8320 Oslo-Hausmannsgt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  <a:tr h="2735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8701 Oslo-Blindern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  <a:tr h="2735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9710 Aske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DB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DB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DB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DB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DB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DBFF"/>
                    </a:solidFill>
                  </a:tcPr>
                </a:tc>
              </a:tr>
              <a:tr h="2735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39150 Kristiansand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solidFill>
                            <a:srgbClr val="FFC000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  <a:endParaRPr lang="nb-NO" sz="1400" b="1" dirty="0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</a:tr>
              <a:tr h="2735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64300 Kristiansund-</a:t>
                      </a:r>
                      <a:r>
                        <a:rPr lang="nb-NO" sz="1400" b="1" dirty="0" err="1">
                          <a:effectLst/>
                          <a:latin typeface="Arial"/>
                          <a:ea typeface="Arial"/>
                          <a:cs typeface="Arial"/>
                        </a:rPr>
                        <a:t>Karih</a:t>
                      </a: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DB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DB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DB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DB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DBFF"/>
                    </a:solidFill>
                  </a:tcPr>
                </a:tc>
              </a:tr>
              <a:tr h="2735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68230 Trondheim-</a:t>
                      </a:r>
                      <a:r>
                        <a:rPr lang="nb-NO" sz="1400" b="1" dirty="0" err="1">
                          <a:effectLst/>
                          <a:latin typeface="Arial"/>
                          <a:ea typeface="Arial"/>
                          <a:cs typeface="Arial"/>
                        </a:rPr>
                        <a:t>Risv</a:t>
                      </a: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</a:tr>
            </a:tbl>
          </a:graphicData>
        </a:graphic>
      </p:graphicFrame>
      <p:sp>
        <p:nvSpPr>
          <p:cNvPr id="9" name="TekstSylinder 8"/>
          <p:cNvSpPr txBox="1"/>
          <p:nvPr/>
        </p:nvSpPr>
        <p:spPr>
          <a:xfrm>
            <a:off x="684364" y="621482"/>
            <a:ext cx="6913516" cy="129263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91413" tIns="45708" rIns="91413" bIns="45708" rtlCol="0">
            <a:spAutoFit/>
          </a:bodyPr>
          <a:lstStyle/>
          <a:p>
            <a:r>
              <a:rPr lang="nb-NO" sz="2400" b="1" dirty="0" smtClean="0"/>
              <a:t>Trends in </a:t>
            </a:r>
            <a:r>
              <a:rPr lang="nb-NO" sz="2400" b="1" dirty="0" err="1" smtClean="0"/>
              <a:t>short</a:t>
            </a:r>
            <a:r>
              <a:rPr lang="nb-NO" sz="2400" b="1" dirty="0" smtClean="0"/>
              <a:t>-term </a:t>
            </a:r>
            <a:r>
              <a:rPr lang="nb-NO" sz="2400" b="1" dirty="0" err="1" smtClean="0"/>
              <a:t>rainfall</a:t>
            </a:r>
            <a:r>
              <a:rPr lang="nb-NO" sz="2400" b="1" dirty="0" smtClean="0"/>
              <a:t> 1968-2014*</a:t>
            </a:r>
          </a:p>
          <a:p>
            <a:r>
              <a:rPr lang="nb-NO" b="1" dirty="0" smtClean="0"/>
              <a:t>Red: Positive </a:t>
            </a:r>
            <a:r>
              <a:rPr lang="nb-NO" b="1" dirty="0"/>
              <a:t>trend</a:t>
            </a:r>
            <a:r>
              <a:rPr lang="nb-NO" b="1" dirty="0" smtClean="0"/>
              <a:t>,  Blue: Negative </a:t>
            </a:r>
            <a:r>
              <a:rPr lang="nb-NO" b="1" dirty="0"/>
              <a:t>trend </a:t>
            </a:r>
            <a:endParaRPr lang="nb-NO" b="1" dirty="0" smtClean="0"/>
          </a:p>
          <a:p>
            <a:r>
              <a:rPr lang="nb-NO" dirty="0" smtClean="0"/>
              <a:t>Dark: </a:t>
            </a:r>
            <a:r>
              <a:rPr lang="nb-NO" dirty="0" err="1" smtClean="0"/>
              <a:t>Statistically</a:t>
            </a:r>
            <a:r>
              <a:rPr lang="nb-NO" dirty="0" smtClean="0"/>
              <a:t> </a:t>
            </a:r>
            <a:r>
              <a:rPr lang="nb-NO" dirty="0" err="1" smtClean="0"/>
              <a:t>significant</a:t>
            </a:r>
            <a:r>
              <a:rPr lang="nb-NO" dirty="0" smtClean="0"/>
              <a:t> trend (95%), </a:t>
            </a:r>
            <a:r>
              <a:rPr lang="nb-NO" dirty="0" err="1" smtClean="0"/>
              <a:t>light</a:t>
            </a:r>
            <a:r>
              <a:rPr lang="nb-NO" dirty="0" smtClean="0"/>
              <a:t>: non-</a:t>
            </a:r>
            <a:r>
              <a:rPr lang="nb-NO" dirty="0" err="1" smtClean="0"/>
              <a:t>significant</a:t>
            </a:r>
            <a:endParaRPr lang="nb-NO" dirty="0" smtClean="0"/>
          </a:p>
          <a:p>
            <a:r>
              <a:rPr lang="nb-NO" dirty="0" smtClean="0"/>
              <a:t>* </a:t>
            </a:r>
            <a:r>
              <a:rPr lang="nb-NO" dirty="0" err="1" smtClean="0"/>
              <a:t>Some</a:t>
            </a:r>
            <a:r>
              <a:rPr lang="nb-NO" dirty="0" smtClean="0"/>
              <a:t> </a:t>
            </a:r>
            <a:r>
              <a:rPr lang="nb-NO" dirty="0" err="1" smtClean="0"/>
              <a:t>stations</a:t>
            </a:r>
            <a:r>
              <a:rPr lang="nb-NO" dirty="0" smtClean="0"/>
              <a:t> have </a:t>
            </a:r>
            <a:r>
              <a:rPr lang="nb-NO" dirty="0" err="1" smtClean="0"/>
              <a:t>shorter</a:t>
            </a:r>
            <a:r>
              <a:rPr lang="nb-NO" dirty="0" smtClean="0"/>
              <a:t> series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25565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3" y="180020"/>
            <a:ext cx="9037290" cy="360040"/>
          </a:xfrm>
          <a:prstGeom prst="rect">
            <a:avLst/>
          </a:prstGeom>
          <a:solidFill>
            <a:srgbClr val="E9E9E9"/>
          </a:solidFill>
        </p:spPr>
        <p:txBody>
          <a:bodyPr lIns="91422" tIns="45713" rIns="91422" bIns="45713">
            <a:normAutofit fontScale="5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111" indent="-457111">
              <a:tabLst>
                <a:tab pos="723753" algn="l"/>
              </a:tabLst>
            </a:pPr>
            <a:r>
              <a:rPr lang="en-GB" sz="3600" b="1" dirty="0">
                <a:solidFill>
                  <a:schemeClr val="tx2"/>
                </a:solidFill>
              </a:rPr>
              <a:t>MET and NVE have “always” been serving authorities design values … </a:t>
            </a:r>
            <a:endParaRPr lang="en-GB" sz="4000" b="1" dirty="0">
              <a:solidFill>
                <a:schemeClr val="tx2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228" y="693490"/>
            <a:ext cx="3685710" cy="2764283"/>
          </a:xfrm>
          <a:prstGeom prst="rect">
            <a:avLst/>
          </a:prstGeom>
        </p:spPr>
      </p:pic>
      <p:pic>
        <p:nvPicPr>
          <p:cNvPr id="14" name="Picture 9" descr="stemningsbildet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0010" y="726296"/>
            <a:ext cx="4000936" cy="2764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2" name="Picture 2" descr="http://2.bp.blogspot.com/_0oDVKIyNda8/S_cJvBvEurI/AAAAAAAAAgw/Y50fw1d_Lco/s640/_JMR5493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8623" y="693489"/>
            <a:ext cx="3325114" cy="2764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kstSylinder 16"/>
          <p:cNvSpPr txBox="1"/>
          <p:nvPr/>
        </p:nvSpPr>
        <p:spPr>
          <a:xfrm>
            <a:off x="6445002" y="6166097"/>
            <a:ext cx="2082834" cy="369400"/>
          </a:xfrm>
          <a:prstGeom prst="rect">
            <a:avLst/>
          </a:prstGeom>
          <a:solidFill>
            <a:srgbClr val="E9E9E9"/>
          </a:solidFill>
        </p:spPr>
        <p:txBody>
          <a:bodyPr wrap="square" lIns="91413" tIns="45708" rIns="91413" bIns="45708" rtlCol="0">
            <a:spAutoFit/>
          </a:bodyPr>
          <a:lstStyle/>
          <a:p>
            <a:endParaRPr lang="nb-NO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69470" y="3557089"/>
            <a:ext cx="9037290" cy="360040"/>
          </a:xfrm>
          <a:prstGeom prst="rect">
            <a:avLst/>
          </a:prstGeom>
          <a:solidFill>
            <a:srgbClr val="E9E9E9"/>
          </a:solidFill>
        </p:spPr>
        <p:txBody>
          <a:bodyPr lIns="91422" tIns="45713" rIns="91422" bIns="45713">
            <a:normAutofit fontScale="6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111" indent="-457111">
              <a:tabLst>
                <a:tab pos="723753" algn="l"/>
              </a:tabLst>
            </a:pPr>
            <a:r>
              <a:rPr lang="en-GB" sz="3600" b="1" dirty="0">
                <a:solidFill>
                  <a:schemeClr val="tx2"/>
                </a:solidFill>
              </a:rPr>
              <a:t>So what’s new with Climate Services?</a:t>
            </a:r>
            <a:endParaRPr lang="en-GB" sz="4000" b="1" dirty="0">
              <a:solidFill>
                <a:schemeClr val="tx2"/>
              </a:solidFill>
            </a:endParaRPr>
          </a:p>
        </p:txBody>
      </p:sp>
      <p:pic>
        <p:nvPicPr>
          <p:cNvPr id="20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6" t="9673" r="4364" b="7486"/>
          <a:stretch/>
        </p:blipFill>
        <p:spPr bwMode="auto">
          <a:xfrm>
            <a:off x="192322" y="3917129"/>
            <a:ext cx="2763588" cy="20530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3" t="9428" r="3983" b="6447"/>
          <a:stretch/>
        </p:blipFill>
        <p:spPr bwMode="auto">
          <a:xfrm>
            <a:off x="3072219" y="3917129"/>
            <a:ext cx="2745815" cy="2064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TekstSylinder 23"/>
          <p:cNvSpPr txBox="1"/>
          <p:nvPr/>
        </p:nvSpPr>
        <p:spPr>
          <a:xfrm>
            <a:off x="284004" y="6012221"/>
            <a:ext cx="2386112" cy="30775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 lIns="91413" tIns="45708" rIns="91413" bIns="45708" rtlCol="0">
            <a:spAutoFit/>
          </a:bodyPr>
          <a:lstStyle/>
          <a:p>
            <a:r>
              <a:rPr lang="nb-NO" sz="1400" dirty="0" err="1"/>
              <a:t>Temperature</a:t>
            </a:r>
            <a:r>
              <a:rPr lang="nb-NO" sz="1400" dirty="0"/>
              <a:t> in Norway, </a:t>
            </a:r>
            <a:r>
              <a:rPr lang="nb-NO" sz="1400" baseline="30000" dirty="0" err="1"/>
              <a:t>o</a:t>
            </a:r>
            <a:r>
              <a:rPr lang="nb-NO" sz="1400" dirty="0" err="1"/>
              <a:t>C</a:t>
            </a:r>
            <a:endParaRPr lang="nb-NO" sz="1400" dirty="0"/>
          </a:p>
        </p:txBody>
      </p:sp>
      <p:sp>
        <p:nvSpPr>
          <p:cNvPr id="25" name="TekstSylinder 24"/>
          <p:cNvSpPr txBox="1"/>
          <p:nvPr/>
        </p:nvSpPr>
        <p:spPr>
          <a:xfrm>
            <a:off x="3332968" y="5999189"/>
            <a:ext cx="2173939" cy="30775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 lIns="91413" tIns="45708" rIns="91413" bIns="45708" rtlCol="0">
            <a:spAutoFit/>
          </a:bodyPr>
          <a:lstStyle/>
          <a:p>
            <a:r>
              <a:rPr lang="nb-NO" sz="1400" b="1" dirty="0" err="1"/>
              <a:t>Precipitation</a:t>
            </a:r>
            <a:r>
              <a:rPr lang="nb-NO" sz="1400" b="1" dirty="0"/>
              <a:t> in </a:t>
            </a:r>
            <a:r>
              <a:rPr lang="nb-NO" sz="1400" b="1" dirty="0" smtClean="0"/>
              <a:t>Norway</a:t>
            </a:r>
            <a:endParaRPr lang="nb-NO" sz="1400" b="1" dirty="0"/>
          </a:p>
        </p:txBody>
      </p:sp>
      <p:pic>
        <p:nvPicPr>
          <p:cNvPr id="15" name="Bilde 14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899"/>
          <a:stretch/>
        </p:blipFill>
        <p:spPr>
          <a:xfrm>
            <a:off x="4831180" y="693489"/>
            <a:ext cx="3675158" cy="2753239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4869" y="3917129"/>
            <a:ext cx="2989881" cy="20663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sp>
        <p:nvSpPr>
          <p:cNvPr id="19" name="TekstSylinder 18"/>
          <p:cNvSpPr txBox="1"/>
          <p:nvPr/>
        </p:nvSpPr>
        <p:spPr>
          <a:xfrm>
            <a:off x="6094389" y="6043045"/>
            <a:ext cx="2858420" cy="30775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 lIns="91413" tIns="45708" rIns="91413" bIns="45708" rtlCol="0">
            <a:spAutoFit/>
          </a:bodyPr>
          <a:lstStyle/>
          <a:p>
            <a:r>
              <a:rPr lang="nb-NO" sz="1400" b="1" dirty="0" err="1"/>
              <a:t>Annual</a:t>
            </a:r>
            <a:r>
              <a:rPr lang="nb-NO" sz="1400" b="1" dirty="0"/>
              <a:t> </a:t>
            </a:r>
            <a:r>
              <a:rPr lang="nb-NO" sz="1400" b="1" dirty="0" err="1"/>
              <a:t>max</a:t>
            </a:r>
            <a:r>
              <a:rPr lang="nb-NO" sz="1400" b="1" dirty="0"/>
              <a:t> </a:t>
            </a:r>
            <a:r>
              <a:rPr lang="nb-NO" sz="1400" b="1" dirty="0" err="1"/>
              <a:t>of</a:t>
            </a:r>
            <a:r>
              <a:rPr lang="nb-NO" sz="1400" b="1" dirty="0"/>
              <a:t> 1 h </a:t>
            </a:r>
            <a:r>
              <a:rPr lang="nb-NO" sz="1400" b="1" dirty="0" err="1"/>
              <a:t>rainfall</a:t>
            </a:r>
            <a:r>
              <a:rPr lang="nb-NO" sz="1400" b="1" dirty="0"/>
              <a:t>, Oslo</a:t>
            </a:r>
          </a:p>
        </p:txBody>
      </p:sp>
      <p:sp>
        <p:nvSpPr>
          <p:cNvPr id="21" name="Tittel 3"/>
          <p:cNvSpPr txBox="1">
            <a:spLocks/>
          </p:cNvSpPr>
          <p:nvPr/>
        </p:nvSpPr>
        <p:spPr>
          <a:xfrm>
            <a:off x="369918" y="6381223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10644654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4" grpId="0" animBg="1"/>
      <p:bldP spid="25" grpId="0" animBg="1"/>
      <p:bldP spid="19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11"/>
          <p:cNvSpPr txBox="1">
            <a:spLocks/>
          </p:cNvSpPr>
          <p:nvPr/>
        </p:nvSpPr>
        <p:spPr>
          <a:xfrm>
            <a:off x="251564" y="116672"/>
            <a:ext cx="8714480" cy="93632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>
                <a:srgbClr val="1F497D"/>
              </a:buClr>
              <a:buSzPct val="25000"/>
            </a:pPr>
            <a:r>
              <a:rPr lang="nb-NO" sz="3700" b="1" dirty="0" err="1" smtClean="0">
                <a:solidFill>
                  <a:srgbClr val="1D6936"/>
                </a:solidFill>
              </a:rPr>
              <a:t>Change</a:t>
            </a:r>
            <a:r>
              <a:rPr lang="nb-NO" sz="3700" b="1" dirty="0" smtClean="0">
                <a:solidFill>
                  <a:srgbClr val="1D6936"/>
                </a:solidFill>
              </a:rPr>
              <a:t> (%) in </a:t>
            </a:r>
            <a:r>
              <a:rPr lang="nb-NO" sz="3700" b="1" dirty="0" err="1" smtClean="0">
                <a:solidFill>
                  <a:srgbClr val="1D6936"/>
                </a:solidFill>
              </a:rPr>
              <a:t>precipitation</a:t>
            </a:r>
            <a:r>
              <a:rPr lang="nb-NO" sz="3700" b="1" dirty="0" smtClean="0">
                <a:solidFill>
                  <a:srgbClr val="1D6936"/>
                </a:solidFill>
              </a:rPr>
              <a:t> </a:t>
            </a:r>
            <a:r>
              <a:rPr lang="nb-NO" sz="3700" b="1" dirty="0" err="1" smtClean="0">
                <a:solidFill>
                  <a:srgbClr val="1D6936"/>
                </a:solidFill>
              </a:rPr>
              <a:t>amount</a:t>
            </a:r>
            <a:r>
              <a:rPr lang="nb-NO" sz="3700" b="1" dirty="0" smtClean="0">
                <a:solidFill>
                  <a:srgbClr val="1D6936"/>
                </a:solidFill>
              </a:rPr>
              <a:t> for </a:t>
            </a:r>
            <a:r>
              <a:rPr lang="nb-NO" sz="3700" b="1" dirty="0" err="1" smtClean="0">
                <a:solidFill>
                  <a:srgbClr val="1D6936"/>
                </a:solidFill>
              </a:rPr>
              <a:t>days</a:t>
            </a:r>
            <a:r>
              <a:rPr lang="nb-NO" sz="3700" b="1" dirty="0" smtClean="0">
                <a:solidFill>
                  <a:srgbClr val="1D6936"/>
                </a:solidFill>
              </a:rPr>
              <a:t> </a:t>
            </a:r>
            <a:r>
              <a:rPr lang="nb-NO" sz="3700" b="1" dirty="0" err="1" smtClean="0">
                <a:solidFill>
                  <a:srgbClr val="1D6936"/>
                </a:solidFill>
              </a:rPr>
              <a:t>with</a:t>
            </a:r>
            <a:r>
              <a:rPr lang="nb-NO" sz="3700" b="1" dirty="0" smtClean="0">
                <a:solidFill>
                  <a:srgbClr val="1D6936"/>
                </a:solidFill>
              </a:rPr>
              <a:t> </a:t>
            </a:r>
            <a:r>
              <a:rPr lang="nb-NO" sz="3700" b="1" dirty="0" err="1" smtClean="0">
                <a:solidFill>
                  <a:srgbClr val="1D6936"/>
                </a:solidFill>
              </a:rPr>
              <a:t>heavy</a:t>
            </a:r>
            <a:r>
              <a:rPr lang="nb-NO" sz="3700" b="1" dirty="0" smtClean="0">
                <a:solidFill>
                  <a:srgbClr val="1D6936"/>
                </a:solidFill>
              </a:rPr>
              <a:t> </a:t>
            </a:r>
            <a:r>
              <a:rPr lang="nb-NO" sz="3700" b="1" dirty="0" err="1" smtClean="0">
                <a:solidFill>
                  <a:srgbClr val="1D6936"/>
                </a:solidFill>
              </a:rPr>
              <a:t>rainfall</a:t>
            </a:r>
            <a:endParaRPr lang="x-none" sz="3700" b="1" dirty="0">
              <a:solidFill>
                <a:srgbClr val="1D6936"/>
              </a:solidFill>
            </a:endParaRPr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305" y="1373378"/>
            <a:ext cx="4161850" cy="4047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  <p:graphicFrame>
        <p:nvGraphicFramePr>
          <p:cNvPr id="2" name="Tabell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761025"/>
              </p:ext>
            </p:extLst>
          </p:nvPr>
        </p:nvGraphicFramePr>
        <p:xfrm>
          <a:off x="2333230" y="4149874"/>
          <a:ext cx="6120681" cy="1584175"/>
        </p:xfrm>
        <a:graphic>
          <a:graphicData uri="http://schemas.openxmlformats.org/drawingml/2006/table">
            <a:tbl>
              <a:tblPr firstRow="1" firstCol="1" bandRow="1"/>
              <a:tblGrid>
                <a:gridCol w="1298539"/>
                <a:gridCol w="1068312"/>
                <a:gridCol w="1068312"/>
                <a:gridCol w="1342759"/>
                <a:gridCol w="1342759"/>
              </a:tblGrid>
              <a:tr h="31683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 </a:t>
                      </a:r>
                      <a:endParaRPr lang="en-US" sz="1600" b="1" dirty="0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64A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RCP4.5</a:t>
                      </a:r>
                      <a:endParaRPr lang="en-US" sz="1600" b="1" dirty="0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64A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RCP8.5</a:t>
                      </a:r>
                      <a:endParaRPr lang="en-US" sz="1600" b="1" dirty="0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64A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1683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/>
                          <a:ea typeface="Arial"/>
                          <a:cs typeface="Arial"/>
                        </a:rPr>
                        <a:t>Index</a:t>
                      </a:r>
                      <a:endParaRPr lang="en-US" sz="1600" b="1" dirty="0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/>
                          <a:ea typeface="Arial"/>
                          <a:cs typeface="Arial"/>
                        </a:rPr>
                        <a:t>3-hours</a:t>
                      </a:r>
                      <a:endParaRPr lang="en-US" sz="1600" b="1" dirty="0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/>
                          <a:ea typeface="Arial"/>
                          <a:cs typeface="Arial"/>
                        </a:rPr>
                        <a:t>1-day</a:t>
                      </a:r>
                      <a:endParaRPr lang="en-US" sz="1600" b="1" dirty="0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/>
                          <a:ea typeface="Arial"/>
                          <a:cs typeface="Arial"/>
                        </a:rPr>
                        <a:t>3-hours</a:t>
                      </a:r>
                      <a:endParaRPr lang="en-US" sz="1600" b="1" dirty="0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/>
                          <a:ea typeface="Arial"/>
                          <a:cs typeface="Arial"/>
                        </a:rPr>
                        <a:t>1-day</a:t>
                      </a:r>
                      <a:endParaRPr lang="en-US" sz="1600" b="1" dirty="0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8E8"/>
                    </a:solidFill>
                  </a:tcPr>
                </a:tc>
              </a:tr>
              <a:tr h="31683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q99,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,11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,11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,20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,20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83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M5</a:t>
                      </a:r>
                      <a:endParaRPr lang="en-US" sz="1600" b="1" dirty="0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,16</a:t>
                      </a:r>
                      <a:endParaRPr lang="en-US" sz="1600" b="1" dirty="0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,13</a:t>
                      </a:r>
                      <a:endParaRPr lang="en-US" sz="1600" b="1" dirty="0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,28</a:t>
                      </a:r>
                      <a:endParaRPr lang="en-US" sz="1600" b="1" dirty="0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,22</a:t>
                      </a:r>
                      <a:endParaRPr lang="en-US" sz="1600" b="1" dirty="0">
                        <a:effectLst/>
                        <a:latin typeface="Arial"/>
                        <a:ea typeface="Arial"/>
                        <a:cs typeface="Arial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8E8"/>
                    </a:solidFill>
                  </a:tcPr>
                </a:tc>
              </a:tr>
              <a:tr h="31683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M20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,19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,14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,38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/>
                          <a:ea typeface="Arial"/>
                          <a:cs typeface="Arial"/>
                        </a:rPr>
                        <a:t>1,26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F8A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Rektangel 3"/>
          <p:cNvSpPr/>
          <p:nvPr/>
        </p:nvSpPr>
        <p:spPr>
          <a:xfrm>
            <a:off x="2285998" y="3134211"/>
            <a:ext cx="6167911" cy="10156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000" b="1" dirty="0" smtClean="0"/>
              <a:t>Climate factors for Norway for change in 3 hourly and 1-day rainfall from 1976-2005 to 2071-2100 for emission scenarios RCP4.5 and RCP8.5. 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4432337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053C5-C548-4C42-883F-773066924361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31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7" name="Plassholder for innhold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1742" y="-26590"/>
            <a:ext cx="10297144" cy="6984776"/>
          </a:xfrm>
          <a:prstGeom prst="rect">
            <a:avLst/>
          </a:prstGeom>
        </p:spPr>
      </p:pic>
      <p:sp>
        <p:nvSpPr>
          <p:cNvPr id="10" name="TekstSylinder 9"/>
          <p:cNvSpPr txBox="1"/>
          <p:nvPr/>
        </p:nvSpPr>
        <p:spPr>
          <a:xfrm>
            <a:off x="612357" y="909514"/>
            <a:ext cx="3456383" cy="1384995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txBody>
          <a:bodyPr wrap="square" lIns="91413" tIns="45708" rIns="91413" bIns="45708" rtlCol="0">
            <a:spAutoFit/>
          </a:bodyPr>
          <a:lstStyle/>
          <a:p>
            <a:r>
              <a:rPr lang="en-GB" sz="2800" b="1" dirty="0">
                <a:solidFill>
                  <a:prstClr val="black"/>
                </a:solidFill>
              </a:rPr>
              <a:t>Projected change in «200-year flood»</a:t>
            </a:r>
          </a:p>
          <a:p>
            <a:r>
              <a:rPr lang="en-GB" sz="2800" b="1" dirty="0">
                <a:solidFill>
                  <a:prstClr val="black"/>
                </a:solidFill>
              </a:rPr>
              <a:t>up to year 2100 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802" y="135252"/>
            <a:ext cx="4916364" cy="5992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tel 3"/>
          <p:cNvSpPr txBox="1">
            <a:spLocks/>
          </p:cNvSpPr>
          <p:nvPr/>
        </p:nvSpPr>
        <p:spPr>
          <a:xfrm>
            <a:off x="395618" y="6421923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3653221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053C5-C548-4C42-883F-773066924361}" type="datetime1">
              <a:rPr lang="nb-NO" smtClean="0">
                <a:solidFill>
                  <a:prstClr val="black"/>
                </a:solidFill>
              </a:rPr>
              <a:pPr/>
              <a:t>07.12.2015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prstClr val="black"/>
                </a:solidFill>
              </a:rPr>
              <a:t>Bunntekst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32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4950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087" y="621482"/>
            <a:ext cx="7984887" cy="5471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tel 1"/>
          <p:cNvSpPr txBox="1">
            <a:spLocks/>
          </p:cNvSpPr>
          <p:nvPr/>
        </p:nvSpPr>
        <p:spPr>
          <a:xfrm>
            <a:off x="1332434" y="931312"/>
            <a:ext cx="6929853" cy="677108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 defTabSz="914097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400" dirty="0" smtClean="0">
                <a:solidFill>
                  <a:schemeClr val="tx2">
                    <a:lumMod val="75000"/>
                  </a:schemeClr>
                </a:solidFill>
              </a:rPr>
              <a:t>Thanks for your attention!</a:t>
            </a:r>
            <a:endParaRPr lang="en-GB" sz="44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" name="Tittel 3"/>
          <p:cNvSpPr txBox="1">
            <a:spLocks/>
          </p:cNvSpPr>
          <p:nvPr/>
        </p:nvSpPr>
        <p:spPr>
          <a:xfrm>
            <a:off x="395617" y="6421923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2385677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457304" y="274702"/>
            <a:ext cx="8231029" cy="850836"/>
          </a:xfrm>
          <a:prstGeom prst="rect">
            <a:avLst/>
          </a:prstGeom>
          <a:solidFill>
            <a:srgbClr val="E9E9E9"/>
          </a:solidFill>
        </p:spPr>
        <p:txBody>
          <a:bodyPr lIns="91233" tIns="45629" rIns="91233" bIns="45629">
            <a:normAutofit fontScale="6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6166" indent="-456166">
              <a:tabLst>
                <a:tab pos="722223" algn="l"/>
              </a:tabLst>
            </a:pPr>
            <a:r>
              <a:rPr lang="nb-NO" sz="3600" b="1" dirty="0">
                <a:solidFill>
                  <a:srgbClr val="0090A8"/>
                </a:solidFill>
              </a:rPr>
              <a:t>… </a:t>
            </a:r>
            <a:r>
              <a:rPr lang="nb-NO" sz="3600" b="1" dirty="0" err="1">
                <a:solidFill>
                  <a:srgbClr val="0090A8"/>
                </a:solidFill>
              </a:rPr>
              <a:t>We</a:t>
            </a:r>
            <a:r>
              <a:rPr lang="nb-NO" sz="3600" b="1" dirty="0">
                <a:solidFill>
                  <a:srgbClr val="0090A8"/>
                </a:solidFill>
              </a:rPr>
              <a:t> </a:t>
            </a:r>
            <a:r>
              <a:rPr lang="nb-NO" sz="3600" b="1" dirty="0" err="1">
                <a:solidFill>
                  <a:srgbClr val="0090A8"/>
                </a:solidFill>
              </a:rPr>
              <a:t>need</a:t>
            </a:r>
            <a:r>
              <a:rPr lang="nb-NO" sz="3600" b="1" dirty="0">
                <a:solidFill>
                  <a:srgbClr val="0090A8"/>
                </a:solidFill>
              </a:rPr>
              <a:t> to plan for </a:t>
            </a:r>
            <a:r>
              <a:rPr lang="nb-NO" sz="3600" b="1" dirty="0" err="1">
                <a:solidFill>
                  <a:srgbClr val="0090A8"/>
                </a:solidFill>
              </a:rPr>
              <a:t>future</a:t>
            </a:r>
            <a:r>
              <a:rPr lang="nb-NO" sz="3600" b="1" dirty="0">
                <a:solidFill>
                  <a:srgbClr val="0090A8"/>
                </a:solidFill>
              </a:rPr>
              <a:t> </a:t>
            </a:r>
            <a:r>
              <a:rPr lang="nb-NO" sz="3600" b="1" dirty="0" err="1">
                <a:solidFill>
                  <a:srgbClr val="0090A8"/>
                </a:solidFill>
              </a:rPr>
              <a:t>climate</a:t>
            </a:r>
            <a:r>
              <a:rPr lang="nb-NO" sz="3600" b="1" dirty="0">
                <a:solidFill>
                  <a:srgbClr val="0090A8"/>
                </a:solidFill>
              </a:rPr>
              <a:t>;- </a:t>
            </a:r>
            <a:r>
              <a:rPr lang="nb-NO" sz="3600" b="1" dirty="0" err="1">
                <a:solidFill>
                  <a:srgbClr val="0090A8"/>
                </a:solidFill>
              </a:rPr>
              <a:t>but</a:t>
            </a:r>
            <a:r>
              <a:rPr lang="nb-NO" sz="3600" b="1" dirty="0">
                <a:solidFill>
                  <a:srgbClr val="0090A8"/>
                </a:solidFill>
              </a:rPr>
              <a:t> in </a:t>
            </a:r>
            <a:r>
              <a:rPr lang="nb-NO" sz="3600" b="1" dirty="0" err="1">
                <a:solidFill>
                  <a:srgbClr val="0090A8"/>
                </a:solidFill>
              </a:rPr>
              <a:t>some</a:t>
            </a:r>
            <a:r>
              <a:rPr lang="nb-NO" sz="3600" b="1" dirty="0">
                <a:solidFill>
                  <a:srgbClr val="0090A8"/>
                </a:solidFill>
              </a:rPr>
              <a:t> </a:t>
            </a:r>
            <a:r>
              <a:rPr lang="nb-NO" sz="3600" b="1" dirty="0" err="1">
                <a:solidFill>
                  <a:srgbClr val="0090A8"/>
                </a:solidFill>
              </a:rPr>
              <a:t>ways</a:t>
            </a:r>
            <a:r>
              <a:rPr lang="nb-NO" sz="3600" b="1" dirty="0">
                <a:solidFill>
                  <a:srgbClr val="0090A8"/>
                </a:solidFill>
              </a:rPr>
              <a:t> </a:t>
            </a:r>
            <a:r>
              <a:rPr lang="nb-NO" sz="3600" b="1" dirty="0" err="1">
                <a:solidFill>
                  <a:srgbClr val="0090A8"/>
                </a:solidFill>
              </a:rPr>
              <a:t>we</a:t>
            </a:r>
            <a:r>
              <a:rPr lang="nb-NO" sz="3600" b="1" dirty="0">
                <a:solidFill>
                  <a:srgbClr val="0090A8"/>
                </a:solidFill>
              </a:rPr>
              <a:t> </a:t>
            </a:r>
            <a:r>
              <a:rPr lang="nb-NO" sz="3600" b="1" dirty="0" err="1">
                <a:solidFill>
                  <a:srgbClr val="0090A8"/>
                </a:solidFill>
              </a:rPr>
              <a:t>are</a:t>
            </a:r>
            <a:r>
              <a:rPr lang="nb-NO" sz="3600" b="1" dirty="0">
                <a:solidFill>
                  <a:srgbClr val="0090A8"/>
                </a:solidFill>
              </a:rPr>
              <a:t> not </a:t>
            </a:r>
            <a:r>
              <a:rPr lang="nb-NO" sz="3600" b="1" dirty="0" err="1">
                <a:solidFill>
                  <a:srgbClr val="0090A8"/>
                </a:solidFill>
              </a:rPr>
              <a:t>even</a:t>
            </a:r>
            <a:r>
              <a:rPr lang="nb-NO" sz="3600" b="1" dirty="0">
                <a:solidFill>
                  <a:srgbClr val="0090A8"/>
                </a:solidFill>
              </a:rPr>
              <a:t> </a:t>
            </a:r>
            <a:r>
              <a:rPr lang="nb-NO" sz="3600" b="1" dirty="0" err="1">
                <a:solidFill>
                  <a:srgbClr val="0090A8"/>
                </a:solidFill>
              </a:rPr>
              <a:t>adapted</a:t>
            </a:r>
            <a:r>
              <a:rPr lang="nb-NO" sz="3600" b="1" dirty="0">
                <a:solidFill>
                  <a:srgbClr val="0090A8"/>
                </a:solidFill>
              </a:rPr>
              <a:t> to present </a:t>
            </a:r>
            <a:r>
              <a:rPr lang="nb-NO" sz="3600" b="1" dirty="0" err="1">
                <a:solidFill>
                  <a:srgbClr val="0090A8"/>
                </a:solidFill>
              </a:rPr>
              <a:t>climate</a:t>
            </a:r>
            <a:r>
              <a:rPr lang="nb-NO" sz="3600" b="1" dirty="0">
                <a:solidFill>
                  <a:srgbClr val="0090A8"/>
                </a:solidFill>
              </a:rPr>
              <a:t>……!</a:t>
            </a:r>
            <a:endParaRPr lang="nb-NO" sz="4000" b="1" dirty="0">
              <a:solidFill>
                <a:prstClr val="black"/>
              </a:solidFill>
            </a:endParaRPr>
          </a:p>
        </p:txBody>
      </p:sp>
      <p:sp>
        <p:nvSpPr>
          <p:cNvPr id="4" name="TekstSylinder 3"/>
          <p:cNvSpPr txBox="1"/>
          <p:nvPr/>
        </p:nvSpPr>
        <p:spPr>
          <a:xfrm>
            <a:off x="7093074" y="6328610"/>
            <a:ext cx="1368152" cy="369332"/>
          </a:xfrm>
          <a:prstGeom prst="rect">
            <a:avLst/>
          </a:prstGeom>
          <a:solidFill>
            <a:srgbClr val="E9E9E9"/>
          </a:solidFill>
        </p:spPr>
        <p:txBody>
          <a:bodyPr wrap="square" lIns="91224" tIns="45624" rIns="91224" bIns="45624" rtlCol="0">
            <a:spAutoFit/>
          </a:bodyPr>
          <a:lstStyle/>
          <a:p>
            <a:pPr defTabSz="912168"/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197" y="1121992"/>
            <a:ext cx="4701794" cy="3532222"/>
          </a:xfrm>
          <a:prstGeom prst="rect">
            <a:avLst/>
          </a:prstGeom>
        </p:spPr>
      </p:pic>
      <p:pic>
        <p:nvPicPr>
          <p:cNvPr id="8" name="Picture 5" descr="Brumunda sidebekk flomskade d 7-02B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>
          <a:xfrm>
            <a:off x="4212754" y="1369602"/>
            <a:ext cx="4816820" cy="3941948"/>
          </a:xfrm>
          <a:prstGeom prst="rect">
            <a:avLst/>
          </a:prstGeom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97" y="2745860"/>
            <a:ext cx="4412786" cy="358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3543311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950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78" y="909514"/>
            <a:ext cx="5862067" cy="372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618" y="3131885"/>
            <a:ext cx="5328592" cy="2997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I FLOMMEN: Deler av tettstedet Feda er under vann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2714" y="333450"/>
            <a:ext cx="4273203" cy="2840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0233" y="2761887"/>
            <a:ext cx="5198163" cy="3328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kstSylinder 2"/>
          <p:cNvSpPr txBox="1"/>
          <p:nvPr/>
        </p:nvSpPr>
        <p:spPr>
          <a:xfrm>
            <a:off x="180306" y="333449"/>
            <a:ext cx="3879908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nb-NO" sz="2400" b="1" dirty="0" smtClean="0"/>
              <a:t>SW-NORWAY 6.DEC 2015</a:t>
            </a:r>
            <a:endParaRPr lang="nb-NO" sz="2400" b="1" dirty="0"/>
          </a:p>
        </p:txBody>
      </p:sp>
      <p:sp>
        <p:nvSpPr>
          <p:cNvPr id="10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3367331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innhold 5"/>
          <p:cNvSpPr>
            <a:spLocks noGrp="1"/>
          </p:cNvSpPr>
          <p:nvPr>
            <p:ph idx="1"/>
          </p:nvPr>
        </p:nvSpPr>
        <p:spPr>
          <a:xfrm>
            <a:off x="756373" y="1197549"/>
            <a:ext cx="4392488" cy="4973386"/>
          </a:xfrm>
        </p:spPr>
        <p:txBody>
          <a:bodyPr>
            <a:noAutofit/>
          </a:bodyPr>
          <a:lstStyle/>
          <a:p>
            <a:pPr>
              <a:tabLst>
                <a:tab pos="723681" algn="l"/>
              </a:tabLst>
              <a:defRPr/>
            </a:pPr>
            <a:r>
              <a:rPr lang="en-GB" sz="2800" dirty="0"/>
              <a:t>Governmental institutions and authorities:</a:t>
            </a:r>
          </a:p>
          <a:p>
            <a:pPr lvl="1">
              <a:tabLst>
                <a:tab pos="723681" algn="l"/>
              </a:tabLst>
              <a:defRPr/>
            </a:pPr>
            <a:r>
              <a:rPr lang="en-GB" sz="2400" dirty="0"/>
              <a:t>National to municipality level</a:t>
            </a:r>
          </a:p>
          <a:p>
            <a:pPr lvl="1">
              <a:tabLst>
                <a:tab pos="723681" algn="l"/>
              </a:tabLst>
              <a:defRPr/>
            </a:pPr>
            <a:r>
              <a:rPr lang="en-GB" sz="2400" dirty="0"/>
              <a:t>Roads, railways, coastal infrastructure etc.</a:t>
            </a:r>
            <a:r>
              <a:rPr lang="en-GB" sz="2800" dirty="0"/>
              <a:t> </a:t>
            </a:r>
          </a:p>
          <a:p>
            <a:pPr>
              <a:tabLst>
                <a:tab pos="723681" algn="l"/>
              </a:tabLst>
              <a:defRPr/>
            </a:pPr>
            <a:r>
              <a:rPr lang="en-GB" sz="2800" dirty="0"/>
              <a:t>Sectors/Industries, e.g.: </a:t>
            </a:r>
          </a:p>
          <a:p>
            <a:pPr lvl="1">
              <a:tabLst>
                <a:tab pos="723681" algn="l"/>
              </a:tabLst>
              <a:defRPr/>
            </a:pPr>
            <a:r>
              <a:rPr lang="en-GB" sz="2400" dirty="0"/>
              <a:t>Energy </a:t>
            </a:r>
          </a:p>
          <a:p>
            <a:pPr lvl="1">
              <a:tabLst>
                <a:tab pos="723681" algn="l"/>
              </a:tabLst>
              <a:defRPr/>
            </a:pPr>
            <a:r>
              <a:rPr lang="en-GB" sz="2400" dirty="0"/>
              <a:t>Buildings </a:t>
            </a:r>
          </a:p>
          <a:p>
            <a:pPr lvl="1">
              <a:tabLst>
                <a:tab pos="723681" algn="l"/>
              </a:tabLst>
              <a:defRPr/>
            </a:pPr>
            <a:r>
              <a:rPr lang="en-GB" sz="2400" dirty="0"/>
              <a:t>Health </a:t>
            </a:r>
          </a:p>
          <a:p>
            <a:pPr lvl="1">
              <a:tabLst>
                <a:tab pos="723681" algn="l"/>
              </a:tabLst>
              <a:defRPr/>
            </a:pPr>
            <a:r>
              <a:rPr lang="en-GB" sz="2400" dirty="0"/>
              <a:t>Primary industries</a:t>
            </a:r>
          </a:p>
          <a:p>
            <a:pPr>
              <a:tabLst>
                <a:tab pos="723681" algn="l"/>
              </a:tabLst>
              <a:defRPr/>
            </a:pPr>
            <a:endParaRPr lang="en-GB" sz="2800" dirty="0"/>
          </a:p>
        </p:txBody>
      </p:sp>
      <p:sp>
        <p:nvSpPr>
          <p:cNvPr id="7" name="Plassholder for lysbildenummer 4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</p:spPr>
        <p:txBody>
          <a:bodyPr/>
          <a:lstStyle/>
          <a:p>
            <a:fld id="{D5ED987E-C9A5-4BD9-B8B4-14FB34A4F616}" type="slidenum">
              <a:rPr lang="nb-NO" smtClean="0"/>
              <a:pPr/>
              <a:t>6</a:t>
            </a:fld>
            <a:endParaRPr lang="nb-NO"/>
          </a:p>
        </p:txBody>
      </p:sp>
      <p:sp>
        <p:nvSpPr>
          <p:cNvPr id="9" name="Tittel 4"/>
          <p:cNvSpPr>
            <a:spLocks noGrp="1"/>
          </p:cNvSpPr>
          <p:nvPr>
            <p:ph type="title"/>
          </p:nvPr>
        </p:nvSpPr>
        <p:spPr>
          <a:xfrm>
            <a:off x="307978" y="515400"/>
            <a:ext cx="8513291" cy="553998"/>
          </a:xfrm>
        </p:spPr>
        <p:txBody>
          <a:bodyPr/>
          <a:lstStyle/>
          <a:p>
            <a:pPr algn="ctr"/>
            <a:r>
              <a:rPr lang="en-GB" sz="3600" dirty="0"/>
              <a:t>Important user categories -  1:</a:t>
            </a:r>
            <a:endParaRPr lang="en-GB" sz="1600" b="0" dirty="0"/>
          </a:p>
        </p:txBody>
      </p:sp>
      <p:sp>
        <p:nvSpPr>
          <p:cNvPr id="4" name="AutoShape 2" descr="https://imap.met.no/service/home/~/image001.png?auth=co&amp;loc=no&amp;id=40938&amp;part=2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3" tIns="45708" rIns="91413" bIns="45708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sp>
        <p:nvSpPr>
          <p:cNvPr id="10" name="TekstSylinder 9"/>
          <p:cNvSpPr txBox="1"/>
          <p:nvPr/>
        </p:nvSpPr>
        <p:spPr>
          <a:xfrm>
            <a:off x="6589021" y="6166097"/>
            <a:ext cx="1872208" cy="369400"/>
          </a:xfrm>
          <a:prstGeom prst="rect">
            <a:avLst/>
          </a:prstGeom>
          <a:solidFill>
            <a:srgbClr val="E9E9E9"/>
          </a:solidFill>
        </p:spPr>
        <p:txBody>
          <a:bodyPr wrap="square" lIns="91413" tIns="45708" rIns="91413" bIns="45708" rtlCol="0">
            <a:spAutoFit/>
          </a:bodyPr>
          <a:lstStyle/>
          <a:p>
            <a:endParaRPr lang="nb-NO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2378" y="1069398"/>
            <a:ext cx="2008270" cy="142429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Bilde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39"/>
          <a:stretch/>
        </p:blipFill>
        <p:spPr>
          <a:xfrm>
            <a:off x="7073188" y="2462121"/>
            <a:ext cx="2032239" cy="131807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6" name="Picture 4" descr="Fil:Zakariasdammen Tafjord 06.08.2007 06-13-0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853" y="3645818"/>
            <a:ext cx="2067327" cy="159053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Bilde 1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172"/>
          <a:stretch/>
        </p:blipFill>
        <p:spPr>
          <a:xfrm>
            <a:off x="7126698" y="5177968"/>
            <a:ext cx="1985550" cy="15399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" name="Picture 2" descr="Ullensvang forkingssenter. Foto: Jiri Havran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4580" y="3780200"/>
            <a:ext cx="1949786" cy="143662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853" y="5157989"/>
            <a:ext cx="2067327" cy="157991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Bilde 2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853" y="1069398"/>
            <a:ext cx="1996338" cy="244890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8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647552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innhold 5"/>
          <p:cNvSpPr>
            <a:spLocks noGrp="1"/>
          </p:cNvSpPr>
          <p:nvPr>
            <p:ph idx="1"/>
          </p:nvPr>
        </p:nvSpPr>
        <p:spPr>
          <a:xfrm>
            <a:off x="828378" y="1341562"/>
            <a:ext cx="3960440" cy="482453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800" dirty="0"/>
              <a:t>Climate impact research</a:t>
            </a:r>
          </a:p>
          <a:p>
            <a:pPr lvl="1"/>
            <a:r>
              <a:rPr lang="en-GB" sz="2800" dirty="0"/>
              <a:t>Physical nature</a:t>
            </a:r>
          </a:p>
          <a:p>
            <a:pPr lvl="1"/>
            <a:r>
              <a:rPr lang="en-GB" sz="2800" dirty="0"/>
              <a:t>Ecosystems</a:t>
            </a:r>
          </a:p>
          <a:p>
            <a:pPr lvl="1"/>
            <a:r>
              <a:rPr lang="en-GB" sz="2800" dirty="0"/>
              <a:t>Society</a:t>
            </a:r>
          </a:p>
          <a:p>
            <a:pPr marL="0" indent="0">
              <a:buNone/>
            </a:pPr>
            <a:r>
              <a:rPr lang="en-GB" sz="2800" dirty="0"/>
              <a:t>	 			</a:t>
            </a:r>
          </a:p>
        </p:txBody>
      </p:sp>
      <p:sp>
        <p:nvSpPr>
          <p:cNvPr id="2" name="AutoShape 4" descr="data:image/jpeg;base64,/9j/4AAQSkZJRgABAQAAAQABAAD/2wCEAAkGBxQSEhUUEhQVFBUWFBQVFxUYFBgXFhQVFxQXFhUVFxgYHCggGBolHBgUITEhJSkrLi4uFx8zODMsNygtLisBCgoKDg0OFBAQGiwkHBwsLCwsLCwsLCwsLCwsLCwsLCwsLCwsLCwsLCwsLCwsLCwsLCwsLCwsLCwsLCwsLCwsLP/AABEIAKgBKwMBIgACEQEDEQH/xAAcAAABBQEBAQAAAAAAAAAAAAADAQIEBQYABwj/xABFEAACAQIEAwYDBgQDBgUFAAABAhEAAwQSITEFQVEGEyJhcYEykaEUUrHB0fAHI0JyYpKyFTOiwuHxFkNzgtIkRGOTlP/EABcBAQEBAQAAAAAAAAAAAAAAAAABAgP/xAAdEQEBAQACAwEBAAAAAAAAAAAAEQECEiExQVEi/9oADAMBAAIRAxEAPwD1rNSh6rxdujdEcdVcqx9EYR/x0v24D40uJ6oWA9WTMo+daFhmpCajYfFI/wADq8b5WDR6xtRc1A4mkmmk0hNULmoOIwtu5GdFYjYkCR5g7g+lOLU3NQR/sbL/ALu646K/81ffMc/ycU4Ym6vxWw4622E+pS5EegZjRs1KGqBlrilskLmysdlcG2x9FcAn1FTRcqI6hgQwBB3BEg+oNRxgFX/ds9ryRvCPIW2BQey0Fur0ueqxHvL9y4Pe2wH/ABBj/lFCvces2zF5u5bpcgf8Skr7TNBc5qaTWZxfbfCrope6eQRN/TNE+01Avdq77T3GGLEHKcx6AEMAShIYOCImYoNtmrmuQJMAdToKxCNxG8wDXFtr/UtsQygEgySojUEfHOhjY1RdqODXcOA96893NsSDE651OYsV0KkeI/C29EejtxmxmVRetlmYKArBpY6AeGYPrUhjWN7Idm0ezYxV/O10nvlljlALBrPhOkqqqdI+I71r3NFNahNTyaGxoGE02a5jQy1UEmlU0LNXZ6CarU9LkVDS5TjcoC3WmotynNcqPcuUDXNRrjU93qO5oGs9Mz0j0ImgLnpM9ALUmaiJHeUveVFNyk7yg2ANPBqMrU8PRTr+HR4zorxtmUGPSdqF9jA+Friejlh7K+ZR8qKHp2egj5bq7OrDoykMfVlMf8NccS4+K0T5oysB/myn5CjFq4Ggitj0/qbJ/erJ8s4E+1GUyJBkdRtT2WozYO2TOUA/eXwt/mWDQHIrhUb7OR8Nxx5Ehx7lgW+tOAuj7j/5rf8A8p+lARsSo5zrGgLQZiDAMa0+3eUmAwJ6AiflvWavdpR9o+zC2cwuLrmkAh8xWACSdI0nerYcQtutz4W9GVo8KgeEkNv/AIaiC8fwRvWHQXDaJg5xyhgTPUHaKxuF4RbtYtLF0EoymWYAZgUJEj4YJBBEeXUVskC5gWJtDUqplApBAGjeEt4jtI29TmO03E7Qv2LqsWe2FYlVLKwB1UsNFaQ2hj4qokphbFk+BQneBcptykOI08EKyssmDoChn4hS2+LXbNom2Q4WyrnvFAAIa5mBe3AUeHSVJJ51ScR7f4ZbLWmRyzQRGRgGBB+9GmUHefIVksZ2pFy1ctp4FuIUac3iBZjPhaMwzGJnYVB6bwLtVbYFHm3cDM1xmQsuZm2kAExIGYADwnXQiqvt3imxZwti0yE3nYCG0GuUszCdAoY7aAnevORxBhb0uEaqpTKW77O5nQRDaZo11mMulGw3aMTlOe33QAnNB7oFgUQEBlABOgg+IadYPeuH4lXtIVGVcsZfuFfCUMc1IKnzFOZ68s7J9pVw+dhme1d7sqCxmQjv4V2ViskgDXw68zvMJxu1eC5WylgCFbwsQRIgczHIVVWTPTGagl6Y1yqCs1CZqE12hNdoDm5Sd5UYvTc9BMFylN2oYuUheglG7Qmeo5emm5QFZqYTTA1IxoEc0JqVzQi9EIwobNXNcoTNVHF6TPTSaZQbHNTg9Rs9cHqKlh6cGqMDTwaCQDREqODTlaglUNlpEuU/PQDC0YaUqLRRbqDGcW7C3LmIe9Yv27feEucyOzBzocsOBER9aqrfZHiNqxchbLEwTbtsCz67w6hZ3PxAxI15+lLRc9Qjxzixx9k2rV5cRmcTbEC8T4gcgyBlVgY00MHmKyj4pnZPEqgZhcygd6W1OUyYkGF8Wu9fRxu1n+MdkcDiVuC5h7Qa4wZrqIqXs4M5xcAzAz85MzNEjzTgHCsK+DtvdfPi+8cOrPplHeFFykZYgJqAdT7VQdoeAqmcBcpRiARG4JBkKAK9Ex/8ODbbvMPimW2ilu7uWxcaQD8LqyQCPvBiDrrsMlxLB3bYyXoDgDMoMgNJmG5iqJVv+FXeK4W7cQ5A1t37trdyUUwVXxJBMEyescqqv9mHB27gx3D7162xGa4GYm2wVvElwSg+IHMN8sGdhvOzHE7hAUrcDLb3NpiMumXwgiDplkSWyz5C9XiF4g92iuw5MRaAP+IZnZfcUV4elzC3CvdXr2G7suUW7mxNvMTAVTaUMmZS0mDrtVtwrA41Ua8ypfGnhS4GYJcZl7sf+5WGU7yDPXfY/sJhr9tVexbtuqqO9tXWVyVULmYC3lc6bsDWdT+Ft1WKjHRZOpHdNmJB8IKBwpgT4p9tdAl8C4lfTEDDsr548a3QBCtmZHBVZMxl3IGU6TNa37RrDSrcgef9p2b036gVG4PwU4ceK814hcqllAyr91d4HlMVNvQQQQCDuCJB9qqAu9DLUN7ZX4DI+6xJ+Take8+1IuIBMaq33Tv7cm9poHl6GblKwobCgU3aQ3aYRTChoC97Sd7Ucg03WglrcohYEVBmlk0BnegvXa0VPOqiI1CZqmPboFy1QRmem95TriUKqrZhKcLdObSumsq5RRloNJmoiYNacEqCLxFFTEUVOW1RUw4qNaxFSFvVA9bUUdGigC7TxcqDmYUwtTLhBpkVQQvTc1BaaF3hoDY67/Kuf+m/+k15n2wQG9egAanbQakk/WvQsa38t/7H/wBJrE9rBJuSP6zqQAdtpG/5e9BtrOiKBsFUDy0FMvAHcbbHmPQjUe1Jb+Ff7R+FCuPVRzXGX4WkdG/Jhr8wTTTjgPiBXzPw/wCYaD3g0C49CLGgn96DQr0cqgiz93w+mg9xsT5xXE3BuMw6jQ/In8/agdcJoF0giCAR0NO76dOfQiD8jrQn1oGhmXY5h0Y6+zc/f5iu+0r/AFHLzIbQjr6jzGlcLRod+xmEOoI3gjn1HQ+dAdLgOoMjryPPQ865rtVeGtC3mCQYOxJLRAPxHU+/zooxQOmx6Hf26+1BJa7TRcqP3lKHqoloZoqVDW6KeMRRU3NTHeo/fik70VARqE9Me7Qmu1Q9qEVFNNykz1Ub9gDvTVw6nlUD7WKIMXWGktsMtBfCjrTPtVJ9sFA1sOetCay1FOKFcL4qgOVhSi61EN+l77yohFxJoyYs0MXPKnA+QoCnFjnSJiKEzDpTdOlBNW7NPzVW5460W3fioJGOH8u5/Y/+k1g+1LjOw/8AyNBEwY0jpyn3rY47Ejurn/pv/pNYHtDfZsSykkqHaB0OYgnTyA+VIreW0ORf7V/AUBx61LwN0G3bJ+4h/wCEU+5cHKiKzJ60ps1MY0Ek9DVEcmKb9oii5STqKJ3PlQQblxW3APrUdtNj7HX67/U1avglNR34evnQQftcbiPMaj9fmKFc4koncwATEbaifoaq+0WNFp+7BiAGYlQw12XUEDTX3FVNnjZIVnuAjQkd3bEjeNE6VUaa0dWYiMx0HMAADX5E+9JcCncA1WDEBcQ1kKIzuoIJkw0L5a61bpgzz08jpPpyPtQRjbj4T7H9d/nNIFnfT15+h2NTWwhFNewY/WlER7JHOgmRUo4ZhsY8jqP+n70pRa+8cv1Hz/Wgh95Xd9UlsJ500YMfeqiP3tL31SBhB1pTYWlEQtTc1TYUV3hqUebYPtDiLZlLzjYQTmEDbQyKtcN26xSxLK/qok78xFY8GlW5UVvML/EK+BDoj+eq/hVhY/iKumeyR1yuD6RIHlXnCXVjUcxrPLWdOu1XeD4IWwrYoundqSpUP/NzArplIiIM70HoOC7a4W5oWa2YnxDT5iaucPxG04lbiERPxDbrXh9x1nwkx5iPzpy+RHzjT3oPeUIOxBoqivFEx+KwxgO6ESYmfjETz3AFSMH2vxVuIulgBEMJHL35UHtCrRFSvLcF/EO4P94inTddDPoTV3gu3FtzEwfPTlJ/OkK3eQU4JWZs8eDCQdOuhH0NGHGB94fWpNK0BtikNodKof8Aao+8PnTjxAxvPpSaVZ8Ssjubun/l3NtP6DXnXFE/+quCSQLjgc9A7RrueVazG43+W0Mfhbr08qxuKuBr7nq7HbXVjv50zB6RwsTZtaf+Wn+kVJIrM4HEkW0E7KBz5V2LxuVGbNEAmTsNNJ6CrCtJbuhhIIIPOmW76tJUgwzKfVTBHzrD9meOAYFGYs0EL4ViPEFgKqDQT5/kB9luM9+lx1GVDecruScxzGT8J3G1SDek+lIrVne+86h4LiveBiSmjsoKHwkBjl3J1iPnVhWta6PKhtdHlWbOMXr9ZolzitoCApPqf+lOpXnHbu/dTHXlaMr5XVpbRCgAEDeCrD2rPJxS6FCqCwiASxHkDufxr0zjGFw+JINxWBUEAgCYPIzOlU79nMLGhcdIC6fSrCoHBOKXnvWXuFZ71M7RqStzxQAI1126mvUXxPmPnWB4Jw23hiTnN3TQOghTMyviMfIVc/7QHnTqlWOFYlnPeNAJCrsuXTqN5zDlpR2unqD6H8j+tZx+JhGddWOafiCgSBpMHn5bzRjxFZAMeJA456HQj2aR7UzBcm8PvR66U1nHUVUfa16n60M4xOp9qvUWxAGzR+Hy/SmG71PuKpMRxQKpIOoBO3QVHwXFQ1tWLZiRqQIH40nkaLvB96gPiBmjMNiY/D8/lVPd4gOQ+tQrWNc3TOSQBHh1CnmDznQU3wNI1wfepveD71VWIvMJ3kHaNdAZHzj61COPaqMEl7Wnd9y9KhqDr5a/Wns8k1xrSe7KEkHWTpHKBBn1n5U5cS5QLJyzmyz4c0EZo6wSJqtW4Tp+9qOsheh6EgVaJIalzGhoxM7R6j8qeuvP8f0pUgq3T1qVhbyHS4CNvENSN+Ujy67VDWCYnnSEefTl79atGs4X2VbEoz4a7auEbW80Pu0SHiCcummvlVFibL23KOrIy6MrAgg+YNQ7bwdDBGoI39qvrfaTvFtWcYgvW1IRbg8OItJsQjj4vRgRSiDhse9v4WK+m3yq5wnasA5bo5E5h7RpVPjbNhLwy3u8stlOYQHVZcQybZwVEgH+odaob93nzqdiPTrnGbSrmziJjQ+f/egcU42bbWlttq7Ak7yoZZ26jN8q83a6Sdad9obTU6fDrsPKnfSPULXaNHlA06lek/DqP8woWb+YT1Y7157w++RcE81I5xAE6xrGnKt1hWBM6T5T+etXNpuNLhr3hA6fqagdpcXkw1w5mUgbrrz23Gnv89jnL/EhaxDiYzMi89BlmfrUTtFxrNhyqt8Rg+gJn8Ku7kSBW+LJZwdpFBMlZ0RYI1kQZ01OYzJPIEVZdjseFsXoyggu0jbmQBpsPKRrWJXGt3aprC3A0y3xHnvHL109at+EYqMPe8QG4iDLTtqxOm8D59azmq3WKxbGwWXxE25A3zEjaDEzVD2IunuD0zmNIM89dumnKKiYriIOECEBptnkCFI1WAxjSNtPLpTOx7EWiROp5xGbSYEz06Vu+cRrGuUM3KB3lMN2toO12hm5QS/nQy5oDm5TDdoBuUwv+5/cVRRY3DXjdu5LhYZzDEkEA+LYDz3qVwnDXkYZ3LIFMgsTLljqJGgg/ualWLmr/wB//KtENysZipBu0MvQTdppuVtAuIYrKpkEaROkT0pMBiQ6COWnn7+dU/G7xM+KRMZdJVo0PpGtP4Pecr4jC7CdyfKufb+mvi0xOLC6EldN4kfgagPxO4zhVYHXRgBrqddhG5+VR8diCH0YnQjUR+Wo/Sq21fi5O0kHYT56HT0rHLbo2V/FlMwe4rQzHNG86Tvof0qvPFbR5x6ZY9d6h4hoY5VkEz4gJOntG9Vd7Vj/ACT8z+lW/gid5TJpqmj4XENbcMhhgQQYBggyCJ84rOKmYfhDknOGtgATKGdZ5adKM2AUlpNwyT/Si/Is/wCVA4i5uqbxdizfGGYtJJiQSfoaj4O4U1EbzrTfBnvyvcJZRVKlWytuS66ERHwgcxHua5MGIOVA3oXb23GtURxDZi2YyZJpUvMdSZ8iZqVrJ9aA2coJ7rQbEIOR66n50J8PIX+Vof7jEaakbb869D7JWsNiFsqguhyP5jhWzABdCgQlSS+WcwAiTV3wDslbu4rFBmLC26gZ7YOfwg+LaD6EUzlupuZ8eJXgAxA0/e1R7r+dewdpUwivcs/ZEV1kEsqyDBgjKdPvb9Kwd/s5KgIZ3JOonblJHyrPfLF66zbplyzPiUMD1HM/MEe1DKiafdtAGAZiR6amgExM9arI7EGf1/f7NNttJ2nT98q1/Zz+G3EMWuZLHcoRo9892D5hYLkeeWK12D/gPc0N3FpP3bdonl95mH4VR5VhNLqDnDfCZM92x084j3rf2jB57++9XmJ/g0lsZ1xLZpVIa0MpLnuhoGnZgd+XLlR2T+P51rimsl2tuH7Q3KQp+gFUd0mNTpXpz9gLuOud8ocp4U8LIgldWlmk7EbKazP8RuzP+z7y2wIVlzKfEeZElmEMYGoXQeUis77X4x6mj2LpAI5aH8f1oRXTcT0P4/vrU9LEWA7OCDmVFGpDKQWEctCCTrE+dBHN0hSJ0/fnUvhGNNmGGsgyIEbwJMyducb+9QksEkBRJJgDTrA9Nfxqx4L2fxGJn7PbNyFLaaAxuoO2aORjY1MFs/HzuBprA66CPz+dL/tgTa13kP6wPLzqjwuGd2CIrMxJCqolmPRANWPkJruIYK7aYd7buWx/jtsnP/EBVzlpMaW5xRVYAkxEkj00pV4kj6gnbnHWKyXfzGukxvRLV7cHbXbr8jV76TGtw2JDAHyB360ne77b/kKywxBiJOwB15DlRbl+4I8RG2k/L8qucyL2y/x6f1n/AErTw2/kJ28wNem9UAx7hjJMFgSPx/H6VZW7wMGRt16xW85VNxKz003BMc+lCNwdfrUbFX7eUEtuTlIPQDbqNa1uoquLXs9wxsNB5xuDRuG3CNlHqW1846VEu7kEayZP73FKkmAIP+EH35VxvmtHYi545EiN5Os7UuBY98pJiGXU+KIM6+XpUa6/i2P786dg7uW4DrvsDr/3qC5OrkPcU5iJMg5tOZJJjXrQjhFH9UfP9ag32Acgxr90gCPQjeiXVBMxZ1g6PHLp3mnpWuyKq2aeh1rSnBLHitr6wv600cKtn+kfM1mtREw9xcqI/wANwOraf2EH1B1n2qDcsFGKtuND+R9Doa0uAw9u2RntW7wGy3C/h2+EoymdB1oOKwyO0sr6SAFYAxPhBYgzA089Kbuak1mWpy/s8q9Fwz8Oup3bYOyjGPF31xHJHMMFgelL/wCE8Oj94EItiDka8csRr48sx61FgHY2xeZ1tWzdtusC5lzK6KSJJXQ7GYr0vsjiu6xOIQks7kETIJChQzHUxqRzqrwfbi0hGW1hgyr3YYXGBC6eHN3e2goHC+1QTEYi6q2S11wRmumFAAELpr9KZMXfMaHttwF8UC6WybttJWMo7ySMymdyANNq8vx1u4FZSlxTDTKsoEbCR69NJr0he1+JI0XDTHV+vr0oOK7QX3IDW7LLBzLLkMdCp3BEEH51nczdq5uvIOzHZLF8Qc/Z7UqJBuMctoHpmjU+QmPKvc+wf8NsPgAty4Fv4nU96VOW3PK0pJy/3bnyGgh2O1l60qqliyqrChERlAGwChTpVb2k43icWnds5sWyPEqKQbnkzEzHkN41rVZj0/EcVs2yA922pO0uJP7g0j8YsAZjfsgbybigR6zXhq8MGUBrrMF6+YAInpoNNt+ppPsNga6GeZZv1AqXVmPWuLdp8GyBVxNl2NyyQq3ASQLqMdvIE+1eO2T16nf1qXdt4dAPCkmI3E667OSaiFpOgCiToCTz866cGeT1P+Hl2cLcAyki60AkCZt2zvB/CvCf4k8Yv4nFN9o/8prltQMsKJEp4WYAzqRmO+5EVq/9unDjKATm10fLHLoddq854/dD3nZRALE75iSTJLNzMk+0VnfZ8VwMzPSpxY92FBGo2BMqp3zafCSZiTuetVqjXSpyqQAGSJ8QJDAlToAJ/pPI/WgPhcJmdsp8IBIJIEjKWjxQM2jdNR5itZ2VxKdwqMb+G7xWRrtu862rmUEqbqG4oElk2ZJI5yaxXiBDgEEQwIU9TEe438qPguO4hPhuHUKssFuEKogKGcEqoHIQKDX/AMOsdbPEku3syjvc1swzQST4QBmM6rpDHlI3r6D7TYwW8NcbOi+GJc5V8Wgk5gV9RqOQO1fJ/CHvC6pski5JgggGTuZOg9Sa0nFeCcTENiDdCtOvellBI1BW2SF01mAI50zVJ2eZWxCl7dqDfuSZuAQWAJm0hzCSAFXxEkbCvae13ZnBtg3YYazIstky2EFz4DBzlcyAaHNvMc4B+dMNhbuf+UGLAFxl+IgRJA3bWORqzxPafEMgBv3m6FrrErpHh5j2pR7p2X7NYG/bm7g8LmU5YOBW00idydHMRqoj51dt2H4cf/ssL/8Az2//AI18+2+2OMgAYh58InNDDLsAdwI003GlSh2vxwEfaLzefeSfmN6D2fgHZLAuL+fCYdsuJvIuawjZUUiEWQYUGdPOr0cAwqjwYewPSzbH/LXzxhu2OJXNN9xmcuwBOpbcx8qmHtZiG0766x6AsT8qUj3vLbt6lba/2hR+QrMdssaGw7nubV9EBc2jAbwglWVwfAwYAz0mvPFXiDobhtYgoBJY+HwgSSASCRHQGs3xPtPiGTIl1spysDMkQ0ghgZiR+O4NSqPx28kp3C90O8RkdxLW1axBQwfGwIMHqJnWhcZ4gVtymIZy0g23a5bdNQfClplQiQDOUmRM6VUY7iLuyXCylwI+BQNARMAQdCRt0qsxjyZ9zpEeQHKiC3mDs1wKFAI8IuA8vPVtfx96nYHGoScyrkLN/LGU3ACBoGfxMoA+8Np6VSd5BnWldiZ5jX/vpVRb47iN0KyMWCEiUKIraQASRMMQBO1V4xvUD/LH0ECoyz0Ok8jXBv3rQbVsa3OT8v0oRxGb4gPp+Sio7HXTUUpI6VlpIGII6eh5VJF8Hpr0C/mKryQf+9HtvH7H40VJu4CVkBfTST571GtDUKcxQT4ddNZkCPzovfeQ+VIuKBMQT7fTQVA29YUAZBpzzZfaB+9qYtvqAPYR+NWNl0BBOkc+Y125edH4gltx4Cu8yCBA85qVYqgoXVTB8pB+hqdhsRdIkXG8pY/nNVzWjOssORH6nejSSNG9iAD8xVRaDH4gf1BvaY+QFEtceuqYbKfmpPpJj6VT/a3Xn9T/AMpFK+MYiC0jpGn4Ugvm7QtP+7H+b8wtNbjK7G0D1mI+sz8qojdbrEcgdNf3zpFcgyMp9SSPaIikF4cXYYjLahp3G/nAGm00GfxqNZtuQGFuQCBmIYpqf3zoiXCFGg1bL8XMadPKunBjkDxfDo+Uu+UgGPCSDtvANZ7E8JQmRcB9A34EVsOHYL7Tc7tyLYAJDZZkggQSSNIk6dBRsfwNbbhDibBBmCykTy3VSo92FZ5e2uPp55c4A+6spB66H0o+E4cyK6taViwADBiCsGSY/qnblG41Fa69w9VmHst5oyNPoFJI+VQ3wK/4fOf0MVntqxTY607vK2gogCD49hA3PSOXIVETAXBH8vNG0qDsZ15nc71fW8INgEnl4R+tSUsjZgPYTS6RmMLau23zBG5ghV3U6FSOYO1a7i3GA1lcneoxyFrYtgBmCIBmYgEkAAT/AIRqIoVpUB3I+gqxVCw0YH/3L+ZmlIw9izd7zMA41MNpME8wT68/nVpxLAXHS0Bb1CkM0eIkaKS0a+nnV4uFKnMZjqQAo9/+tSbj6aFT6EEf6qtSKjCdlbLavdOWV0ClWG0jbKY115g8iNbr/wAIYKNL7fMf8wqOLtwbG3HWTNHa62mxPkdT6UVCudk8NsuIuf8A6p/CKm8M4FhbZlrl9iNoXu48xGtOTEHoflTziec0Gru9vTaUJbsXbkCMzZYj+7MSfcV5dxvAXL1x7otMMzuxAKxDOzABQg2BA57Vp1xI+8Kp+M8Stx4bzZh/QskNrs3LlQZPEYMqQAJnYAeKfQGoF0e2tW1vGB3XvJAE+Jhmkabke9R8fhF0KNvuIgRBMj6aedGVcASN6EEMTpvG+tHSyToWy+bZiB6RNNVG8jJ+Wu9axCIQdDmJ9vl5U93tk/Cfc1KXiTqCBG0HfUa/PrNQu+Xp9RUGwbBwOfzBpyYUz8WnXf6V1dWK6QR+GH7w8tIB8udANkjTXSlrqZpDSfKgEkHnS11aQe3iDyAPlMGlDzqVPrGvzFdXVAa2qk5tVMGQdBPImo18FtPrr+zXV1AzuiOc/jTYHOf35V1dQECp1/fnQ7uHVjOvsYn9a6uqCzs8RcLlMkQBBYwRy0II+YrjxDeE1I2JIGu/wmPoK6upRGGOuagsFB5KunvG/vQC5kknTyj9a6uqjs076j0FGRiOkfvflXV1SqY7qfiX9+tFS2P6Qv4/9a6uoDW8GV1zmOcwPpP506FUGQSeUmJ03MT8vKurqiuGOtrqUPz/ADIihtxRSdEAERHKOn7866uqoI3FjHhRB55fLyP60GxxS6hkw4O4ZQfSOYpa6qC4rtJcaBAVQNsqH6gTUROKtEd4ffefWJrq6nskR3YsZOvnm/U1Ev4STv8AMyI9BXV1RYjKFAMawYjUT9YoMttEH20pa6s1nQnJ6GaXMeY/GurquaylYTBrcM/d5GZPy2qwSwFEZQI5BFj60tdW6j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3" tIns="45708" rIns="91413" bIns="45708" numCol="1" anchor="t" anchorCtr="0" compatLnSpc="1">
            <a:prstTxWarp prst="textNoShape">
              <a:avLst/>
            </a:prstTxWarp>
          </a:bodyPr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3" name="AutoShape 6" descr="data:image/jpeg;base64,/9j/4AAQSkZJRgABAQAAAQABAAD/2wCEAAkGBxQSEhUUEhQVFBUWFBQVFxUYFBgXFhQVFxQXFhUVFxgYHCggGBolHBgUITEhJSkrLi4uFx8zODMsNygtLisBCgoKDg0OFBAQGiwkHBwsLCwsLCwsLCwsLCwsLCwsLCwsLCwsLCwsLCwsLCwsLCwsLCwsLCwsLCwsLCwsLCwsLP/AABEIAKgBKwMBIgACEQEDEQH/xAAcAAABBQEBAQAAAAAAAAAAAAADAQIEBQYABwj/xABFEAACAQIEAwYDBgQDBgUFAAABAhEAAwQSITEFQVEGEyJhcYEykaEUUrHB0fAHI0JyYpKyFTOiwuHxFkNzgtIkRGOTlP/EABcBAQEBAQAAAAAAAAAAAAAAAAABAgP/xAAdEQEBAQACAwEBAAAAAAAAAAAAEQECEiExQVEi/9oADAMBAAIRAxEAPwD1rNSh6rxdujdEcdVcqx9EYR/x0v24D40uJ6oWA9WTMo+daFhmpCajYfFI/wADq8b5WDR6xtRc1A4mkmmk0hNULmoOIwtu5GdFYjYkCR5g7g+lOLU3NQR/sbL/ALu646K/81ffMc/ycU4Ym6vxWw4622E+pS5EegZjRs1KGqBlrilskLmysdlcG2x9FcAn1FTRcqI6hgQwBB3BEg+oNRxgFX/ds9ryRvCPIW2BQey0Fur0ueqxHvL9y4Pe2wH/ABBj/lFCvces2zF5u5bpcgf8Skr7TNBc5qaTWZxfbfCrope6eQRN/TNE+01Avdq77T3GGLEHKcx6AEMAShIYOCImYoNtmrmuQJMAdToKxCNxG8wDXFtr/UtsQygEgySojUEfHOhjY1RdqODXcOA96893NsSDE651OYsV0KkeI/C29EejtxmxmVRetlmYKArBpY6AeGYPrUhjWN7Idm0ezYxV/O10nvlljlALBrPhOkqqqdI+I71r3NFNahNTyaGxoGE02a5jQy1UEmlU0LNXZ6CarU9LkVDS5TjcoC3WmotynNcqPcuUDXNRrjU93qO5oGs9Mz0j0ImgLnpM9ALUmaiJHeUveVFNyk7yg2ANPBqMrU8PRTr+HR4zorxtmUGPSdqF9jA+Friejlh7K+ZR8qKHp2egj5bq7OrDoykMfVlMf8NccS4+K0T5oysB/myn5CjFq4Ggitj0/qbJ/erJ8s4E+1GUyJBkdRtT2WozYO2TOUA/eXwt/mWDQHIrhUb7OR8Nxx5Ehx7lgW+tOAuj7j/5rf8A8p+lARsSo5zrGgLQZiDAMa0+3eUmAwJ6AiflvWavdpR9o+zC2cwuLrmkAh8xWACSdI0nerYcQtutz4W9GVo8KgeEkNv/AIaiC8fwRvWHQXDaJg5xyhgTPUHaKxuF4RbtYtLF0EoymWYAZgUJEj4YJBBEeXUVskC5gWJtDUqplApBAGjeEt4jtI29TmO03E7Qv2LqsWe2FYlVLKwB1UsNFaQ2hj4qokphbFk+BQneBcptykOI08EKyssmDoChn4hS2+LXbNom2Q4WyrnvFAAIa5mBe3AUeHSVJJ51ScR7f4ZbLWmRyzQRGRgGBB+9GmUHefIVksZ2pFy1ctp4FuIUac3iBZjPhaMwzGJnYVB6bwLtVbYFHm3cDM1xmQsuZm2kAExIGYADwnXQiqvt3imxZwti0yE3nYCG0GuUszCdAoY7aAnevORxBhb0uEaqpTKW77O5nQRDaZo11mMulGw3aMTlOe33QAnNB7oFgUQEBlABOgg+IadYPeuH4lXtIVGVcsZfuFfCUMc1IKnzFOZ68s7J9pVw+dhme1d7sqCxmQjv4V2ViskgDXw68zvMJxu1eC5WylgCFbwsQRIgczHIVVWTPTGagl6Y1yqCs1CZqE12hNdoDm5Sd5UYvTc9BMFylN2oYuUheglG7Qmeo5emm5QFZqYTTA1IxoEc0JqVzQi9EIwobNXNcoTNVHF6TPTSaZQbHNTg9Rs9cHqKlh6cGqMDTwaCQDREqODTlaglUNlpEuU/PQDC0YaUqLRRbqDGcW7C3LmIe9Yv27feEucyOzBzocsOBER9aqrfZHiNqxchbLEwTbtsCz67w6hZ3PxAxI15+lLRc9Qjxzixx9k2rV5cRmcTbEC8T4gcgyBlVgY00MHmKyj4pnZPEqgZhcygd6W1OUyYkGF8Wu9fRxu1n+MdkcDiVuC5h7Qa4wZrqIqXs4M5xcAzAz85MzNEjzTgHCsK+DtvdfPi+8cOrPplHeFFykZYgJqAdT7VQdoeAqmcBcpRiARG4JBkKAK9Ex/8ODbbvMPimW2ilu7uWxcaQD8LqyQCPvBiDrrsMlxLB3bYyXoDgDMoMgNJmG5iqJVv+FXeK4W7cQ5A1t37trdyUUwVXxJBMEyescqqv9mHB27gx3D7162xGa4GYm2wVvElwSg+IHMN8sGdhvOzHE7hAUrcDLb3NpiMumXwgiDplkSWyz5C9XiF4g92iuw5MRaAP+IZnZfcUV4elzC3CvdXr2G7suUW7mxNvMTAVTaUMmZS0mDrtVtwrA41Ua8ypfGnhS4GYJcZl7sf+5WGU7yDPXfY/sJhr9tVexbtuqqO9tXWVyVULmYC3lc6bsDWdT+Ft1WKjHRZOpHdNmJB8IKBwpgT4p9tdAl8C4lfTEDDsr548a3QBCtmZHBVZMxl3IGU6TNa37RrDSrcgef9p2b036gVG4PwU4ceK814hcqllAyr91d4HlMVNvQQQQCDuCJB9qqAu9DLUN7ZX4DI+6xJ+Take8+1IuIBMaq33Tv7cm9poHl6GblKwobCgU3aQ3aYRTChoC97Sd7Ucg03WglrcohYEVBmlk0BnegvXa0VPOqiI1CZqmPboFy1QRmem95TriUKqrZhKcLdObSumsq5RRloNJmoiYNacEqCLxFFTEUVOW1RUw4qNaxFSFvVA9bUUdGigC7TxcqDmYUwtTLhBpkVQQvTc1BaaF3hoDY67/Kuf+m/+k15n2wQG9egAanbQakk/WvQsa38t/7H/wBJrE9rBJuSP6zqQAdtpG/5e9BtrOiKBsFUDy0FMvAHcbbHmPQjUe1Jb+Ff7R+FCuPVRzXGX4WkdG/Jhr8wTTTjgPiBXzPw/wCYaD3g0C49CLGgn96DQr0cqgiz93w+mg9xsT5xXE3BuMw6jQ/In8/agdcJoF0giCAR0NO76dOfQiD8jrQn1oGhmXY5h0Y6+zc/f5iu+0r/AFHLzIbQjr6jzGlcLRod+xmEOoI3gjn1HQ+dAdLgOoMjryPPQ865rtVeGtC3mCQYOxJLRAPxHU+/zooxQOmx6Hf26+1BJa7TRcqP3lKHqoloZoqVDW6KeMRRU3NTHeo/fik70VARqE9Me7Qmu1Q9qEVFNNykz1Ub9gDvTVw6nlUD7WKIMXWGktsMtBfCjrTPtVJ9sFA1sOetCay1FOKFcL4qgOVhSi61EN+l77yohFxJoyYs0MXPKnA+QoCnFjnSJiKEzDpTdOlBNW7NPzVW5460W3fioJGOH8u5/Y/+k1g+1LjOw/8AyNBEwY0jpyn3rY47Ejurn/pv/pNYHtDfZsSykkqHaB0OYgnTyA+VIreW0ORf7V/AUBx61LwN0G3bJ+4h/wCEU+5cHKiKzJ60ps1MY0Ek9DVEcmKb9oii5STqKJ3PlQQblxW3APrUdtNj7HX67/U1avglNR34evnQQftcbiPMaj9fmKFc4koncwATEbaifoaq+0WNFp+7BiAGYlQw12XUEDTX3FVNnjZIVnuAjQkd3bEjeNE6VUaa0dWYiMx0HMAADX5E+9JcCncA1WDEBcQ1kKIzuoIJkw0L5a61bpgzz08jpPpyPtQRjbj4T7H9d/nNIFnfT15+h2NTWwhFNewY/WlER7JHOgmRUo4ZhsY8jqP+n70pRa+8cv1Hz/Wgh95Xd9UlsJ500YMfeqiP3tL31SBhB1pTYWlEQtTc1TYUV3hqUebYPtDiLZlLzjYQTmEDbQyKtcN26xSxLK/qok78xFY8GlW5UVvML/EK+BDoj+eq/hVhY/iKumeyR1yuD6RIHlXnCXVjUcxrPLWdOu1XeD4IWwrYoundqSpUP/NzArplIiIM70HoOC7a4W5oWa2YnxDT5iaucPxG04lbiERPxDbrXh9x1nwkx5iPzpy+RHzjT3oPeUIOxBoqivFEx+KwxgO6ESYmfjETz3AFSMH2vxVuIulgBEMJHL35UHtCrRFSvLcF/EO4P94inTddDPoTV3gu3FtzEwfPTlJ/OkK3eQU4JWZs8eDCQdOuhH0NGHGB94fWpNK0BtikNodKof8Aao+8PnTjxAxvPpSaVZ8Ssjubun/l3NtP6DXnXFE/+quCSQLjgc9A7RrueVazG43+W0Mfhbr08qxuKuBr7nq7HbXVjv50zB6RwsTZtaf+Wn+kVJIrM4HEkW0E7KBz5V2LxuVGbNEAmTsNNJ6CrCtJbuhhIIIPOmW76tJUgwzKfVTBHzrD9meOAYFGYs0EL4ViPEFgKqDQT5/kB9luM9+lx1GVDecruScxzGT8J3G1SDek+lIrVne+86h4LiveBiSmjsoKHwkBjl3J1iPnVhWta6PKhtdHlWbOMXr9ZolzitoCApPqf+lOpXnHbu/dTHXlaMr5XVpbRCgAEDeCrD2rPJxS6FCqCwiASxHkDufxr0zjGFw+JINxWBUEAgCYPIzOlU79nMLGhcdIC6fSrCoHBOKXnvWXuFZ71M7RqStzxQAI1126mvUXxPmPnWB4Jw23hiTnN3TQOghTMyviMfIVc/7QHnTqlWOFYlnPeNAJCrsuXTqN5zDlpR2unqD6H8j+tZx+JhGddWOafiCgSBpMHn5bzRjxFZAMeJA456HQj2aR7UzBcm8PvR66U1nHUVUfa16n60M4xOp9qvUWxAGzR+Hy/SmG71PuKpMRxQKpIOoBO3QVHwXFQ1tWLZiRqQIH40nkaLvB96gPiBmjMNiY/D8/lVPd4gOQ+tQrWNc3TOSQBHh1CnmDznQU3wNI1wfepveD71VWIvMJ3kHaNdAZHzj61COPaqMEl7Wnd9y9KhqDr5a/Wns8k1xrSe7KEkHWTpHKBBn1n5U5cS5QLJyzmyz4c0EZo6wSJqtW4Tp+9qOsheh6EgVaJIalzGhoxM7R6j8qeuvP8f0pUgq3T1qVhbyHS4CNvENSN+Ujy67VDWCYnnSEefTl79atGs4X2VbEoz4a7auEbW80Pu0SHiCcummvlVFibL23KOrIy6MrAgg+YNQ7bwdDBGoI39qvrfaTvFtWcYgvW1IRbg8OItJsQjj4vRgRSiDhse9v4WK+m3yq5wnasA5bo5E5h7RpVPjbNhLwy3u8stlOYQHVZcQybZwVEgH+odaob93nzqdiPTrnGbSrmziJjQ+f/egcU42bbWlttq7Ak7yoZZ26jN8q83a6Sdad9obTU6fDrsPKnfSPULXaNHlA06lek/DqP8woWb+YT1Y7157w++RcE81I5xAE6xrGnKt1hWBM6T5T+etXNpuNLhr3hA6fqagdpcXkw1w5mUgbrrz23Gnv89jnL/EhaxDiYzMi89BlmfrUTtFxrNhyqt8Rg+gJn8Ku7kSBW+LJZwdpFBMlZ0RYI1kQZ01OYzJPIEVZdjseFsXoyggu0jbmQBpsPKRrWJXGt3aprC3A0y3xHnvHL109at+EYqMPe8QG4iDLTtqxOm8D59azmq3WKxbGwWXxE25A3zEjaDEzVD2IunuD0zmNIM89dumnKKiYriIOECEBptnkCFI1WAxjSNtPLpTOx7EWiROp5xGbSYEz06Vu+cRrGuUM3KB3lMN2toO12hm5QS/nQy5oDm5TDdoBuUwv+5/cVRRY3DXjdu5LhYZzDEkEA+LYDz3qVwnDXkYZ3LIFMgsTLljqJGgg/ualWLmr/wB//KtENysZipBu0MvQTdppuVtAuIYrKpkEaROkT0pMBiQ6COWnn7+dU/G7xM+KRMZdJVo0PpGtP4Pecr4jC7CdyfKufb+mvi0xOLC6EldN4kfgagPxO4zhVYHXRgBrqddhG5+VR8diCH0YnQjUR+Wo/Sq21fi5O0kHYT56HT0rHLbo2V/FlMwe4rQzHNG86Tvof0qvPFbR5x6ZY9d6h4hoY5VkEz4gJOntG9Vd7Vj/ACT8z+lW/gid5TJpqmj4XENbcMhhgQQYBggyCJ84rOKmYfhDknOGtgATKGdZ5adKM2AUlpNwyT/Si/Is/wCVA4i5uqbxdizfGGYtJJiQSfoaj4O4U1EbzrTfBnvyvcJZRVKlWytuS66ERHwgcxHua5MGIOVA3oXb23GtURxDZi2YyZJpUvMdSZ8iZqVrJ9aA2coJ7rQbEIOR66n50J8PIX+Vof7jEaakbb869D7JWsNiFsqguhyP5jhWzABdCgQlSS+WcwAiTV3wDslbu4rFBmLC26gZ7YOfwg+LaD6EUzlupuZ8eJXgAxA0/e1R7r+dewdpUwivcs/ZEV1kEsqyDBgjKdPvb9Kwd/s5KgIZ3JOonblJHyrPfLF66zbplyzPiUMD1HM/MEe1DKiafdtAGAZiR6amgExM9arI7EGf1/f7NNttJ2nT98q1/Zz+G3EMWuZLHcoRo9892D5hYLkeeWK12D/gPc0N3FpP3bdonl95mH4VR5VhNLqDnDfCZM92x084j3rf2jB57++9XmJ/g0lsZ1xLZpVIa0MpLnuhoGnZgd+XLlR2T+P51rimsl2tuH7Q3KQp+gFUd0mNTpXpz9gLuOud8ocp4U8LIgldWlmk7EbKazP8RuzP+z7y2wIVlzKfEeZElmEMYGoXQeUis77X4x6mj2LpAI5aH8f1oRXTcT0P4/vrU9LEWA7OCDmVFGpDKQWEctCCTrE+dBHN0hSJ0/fnUvhGNNmGGsgyIEbwJMyducb+9QksEkBRJJgDTrA9Nfxqx4L2fxGJn7PbNyFLaaAxuoO2aORjY1MFs/HzuBprA66CPz+dL/tgTa13kP6wPLzqjwuGd2CIrMxJCqolmPRANWPkJruIYK7aYd7buWx/jtsnP/EBVzlpMaW5xRVYAkxEkj00pV4kj6gnbnHWKyXfzGukxvRLV7cHbXbr8jV76TGtw2JDAHyB360ne77b/kKywxBiJOwB15DlRbl+4I8RG2k/L8qucyL2y/x6f1n/AErTw2/kJ28wNem9UAx7hjJMFgSPx/H6VZW7wMGRt16xW85VNxKz003BMc+lCNwdfrUbFX7eUEtuTlIPQDbqNa1uoquLXs9wxsNB5xuDRuG3CNlHqW1846VEu7kEayZP73FKkmAIP+EH35VxvmtHYi545EiN5Os7UuBY98pJiGXU+KIM6+XpUa6/i2P786dg7uW4DrvsDr/3qC5OrkPcU5iJMg5tOZJJjXrQjhFH9UfP9ag32Acgxr90gCPQjeiXVBMxZ1g6PHLp3mnpWuyKq2aeh1rSnBLHitr6wv600cKtn+kfM1mtREw9xcqI/wANwOraf2EH1B1n2qDcsFGKtuND+R9Doa0uAw9u2RntW7wGy3C/h2+EoymdB1oOKwyO0sr6SAFYAxPhBYgzA089Kbuak1mWpy/s8q9Fwz8Oup3bYOyjGPF31xHJHMMFgelL/wCE8Oj94EItiDka8csRr48sx61FgHY2xeZ1tWzdtusC5lzK6KSJJXQ7GYr0vsjiu6xOIQks7kETIJChQzHUxqRzqrwfbi0hGW1hgyr3YYXGBC6eHN3e2goHC+1QTEYi6q2S11wRmumFAAELpr9KZMXfMaHttwF8UC6WybttJWMo7ySMymdyANNq8vx1u4FZSlxTDTKsoEbCR69NJr0he1+JI0XDTHV+vr0oOK7QX3IDW7LLBzLLkMdCp3BEEH51nczdq5uvIOzHZLF8Qc/Z7UqJBuMctoHpmjU+QmPKvc+wf8NsPgAty4Fv4nU96VOW3PK0pJy/3bnyGgh2O1l60qqliyqrChERlAGwChTpVb2k43icWnds5sWyPEqKQbnkzEzHkN41rVZj0/EcVs2yA922pO0uJP7g0j8YsAZjfsgbybigR6zXhq8MGUBrrMF6+YAInpoNNt+ppPsNga6GeZZv1AqXVmPWuLdp8GyBVxNl2NyyQq3ASQLqMdvIE+1eO2T16nf1qXdt4dAPCkmI3E667OSaiFpOgCiToCTz866cGeT1P+Hl2cLcAyki60AkCZt2zvB/CvCf4k8Yv4nFN9o/8prltQMsKJEp4WYAzqRmO+5EVq/9unDjKATm10fLHLoddq854/dD3nZRALE75iSTJLNzMk+0VnfZ8VwMzPSpxY92FBGo2BMqp3zafCSZiTuetVqjXSpyqQAGSJ8QJDAlToAJ/pPI/WgPhcJmdsp8IBIJIEjKWjxQM2jdNR5itZ2VxKdwqMb+G7xWRrtu862rmUEqbqG4oElk2ZJI5yaxXiBDgEEQwIU9TEe438qPguO4hPhuHUKssFuEKogKGcEqoHIQKDX/AMOsdbPEku3syjvc1swzQST4QBmM6rpDHlI3r6D7TYwW8NcbOi+GJc5V8Wgk5gV9RqOQO1fJ/CHvC6pski5JgggGTuZOg9Sa0nFeCcTENiDdCtOvellBI1BW2SF01mAI50zVJ2eZWxCl7dqDfuSZuAQWAJm0hzCSAFXxEkbCvae13ZnBtg3YYazIstky2EFz4DBzlcyAaHNvMc4B+dMNhbuf+UGLAFxl+IgRJA3bWORqzxPafEMgBv3m6FrrErpHh5j2pR7p2X7NYG/bm7g8LmU5YOBW00idydHMRqoj51dt2H4cf/ssL/8Az2//AI18+2+2OMgAYh58InNDDLsAdwI003GlSh2vxwEfaLzefeSfmN6D2fgHZLAuL+fCYdsuJvIuawjZUUiEWQYUGdPOr0cAwqjwYewPSzbH/LXzxhu2OJXNN9xmcuwBOpbcx8qmHtZiG0766x6AsT8qUj3vLbt6lba/2hR+QrMdssaGw7nubV9EBc2jAbwglWVwfAwYAz0mvPFXiDobhtYgoBJY+HwgSSASCRHQGs3xPtPiGTIl1spysDMkQ0ghgZiR+O4NSqPx28kp3C90O8RkdxLW1axBQwfGwIMHqJnWhcZ4gVtymIZy0g23a5bdNQfClplQiQDOUmRM6VUY7iLuyXCylwI+BQNARMAQdCRt0qsxjyZ9zpEeQHKiC3mDs1wKFAI8IuA8vPVtfx96nYHGoScyrkLN/LGU3ACBoGfxMoA+8Np6VSd5BnWldiZ5jX/vpVRb47iN0KyMWCEiUKIraQASRMMQBO1V4xvUD/LH0ECoyz0Ok8jXBv3rQbVsa3OT8v0oRxGb4gPp+Sio7HXTUUpI6VlpIGII6eh5VJF8Hpr0C/mKryQf+9HtvH7H40VJu4CVkBfTST571GtDUKcxQT4ddNZkCPzovfeQ+VIuKBMQT7fTQVA29YUAZBpzzZfaB+9qYtvqAPYR+NWNl0BBOkc+Y125edH4gltx4Cu8yCBA85qVYqgoXVTB8pB+hqdhsRdIkXG8pY/nNVzWjOssORH6nejSSNG9iAD8xVRaDH4gf1BvaY+QFEtceuqYbKfmpPpJj6VT/a3Xn9T/AMpFK+MYiC0jpGn4Ugvm7QtP+7H+b8wtNbjK7G0D1mI+sz8qojdbrEcgdNf3zpFcgyMp9SSPaIikF4cXYYjLahp3G/nAGm00GfxqNZtuQGFuQCBmIYpqf3zoiXCFGg1bL8XMadPKunBjkDxfDo+Uu+UgGPCSDtvANZ7E8JQmRcB9A34EVsOHYL7Tc7tyLYAJDZZkggQSSNIk6dBRsfwNbbhDibBBmCykTy3VSo92FZ5e2uPp55c4A+6spB66H0o+E4cyK6taViwADBiCsGSY/qnblG41Fa69w9VmHst5oyNPoFJI+VQ3wK/4fOf0MVntqxTY607vK2gogCD49hA3PSOXIVETAXBH8vNG0qDsZ15nc71fW8INgEnl4R+tSUsjZgPYTS6RmMLau23zBG5ghV3U6FSOYO1a7i3GA1lcneoxyFrYtgBmCIBmYgEkAAT/AIRqIoVpUB3I+gqxVCw0YH/3L+ZmlIw9izd7zMA41MNpME8wT68/nVpxLAXHS0Bb1CkM0eIkaKS0a+nnV4uFKnMZjqQAo9/+tSbj6aFT6EEf6qtSKjCdlbLavdOWV0ClWG0jbKY115g8iNbr/wAIYKNL7fMf8wqOLtwbG3HWTNHa62mxPkdT6UVCudk8NsuIuf8A6p/CKm8M4FhbZlrl9iNoXu48xGtOTEHoflTziec0Gru9vTaUJbsXbkCMzZYj+7MSfcV5dxvAXL1x7otMMzuxAKxDOzABQg2BA57Vp1xI+8Kp+M8Stx4bzZh/QskNrs3LlQZPEYMqQAJnYAeKfQGoF0e2tW1vGB3XvJAE+Jhmkabke9R8fhF0KNvuIgRBMj6aedGVcASN6EEMTpvG+tHSyToWy+bZiB6RNNVG8jJ+Wu9axCIQdDmJ9vl5U93tk/Cfc1KXiTqCBG0HfUa/PrNQu+Xp9RUGwbBwOfzBpyYUz8WnXf6V1dWK6QR+GH7w8tIB8udANkjTXSlrqZpDSfKgEkHnS11aQe3iDyAPlMGlDzqVPrGvzFdXVAa2qk5tVMGQdBPImo18FtPrr+zXV1AzuiOc/jTYHOf35V1dQECp1/fnQ7uHVjOvsYn9a6uqCzs8RcLlMkQBBYwRy0II+YrjxDeE1I2JIGu/wmPoK6upRGGOuagsFB5KunvG/vQC5kknTyj9a6uqjs076j0FGRiOkfvflXV1SqY7qfiX9+tFS2P6Qv4/9a6uoDW8GV1zmOcwPpP506FUGQSeUmJ03MT8vKurqiuGOtrqUPz/ADIihtxRSdEAERHKOn7866uqoI3FjHhRB55fLyP60GxxS6hkw4O4ZQfSOYpa6qC4rtJcaBAVQNsqH6gTUROKtEd4ffefWJrq6nskR3YsZOvnm/U1Ev4STv8AMyI9BXV1RYjKFAMawYjUT9YoMttEH20pa6s1nQnJ6GaXMeY/GurquaylYTBrcM/d5GZPy2qwSwFEZQI5BFj60tdW6j//2Q=="/>
          <p:cNvSpPr>
            <a:spLocks noChangeAspect="1" noChangeArrowheads="1"/>
          </p:cNvSpPr>
          <p:nvPr/>
        </p:nvSpPr>
        <p:spPr bwMode="auto">
          <a:xfrm>
            <a:off x="307978" y="7940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3" tIns="45708" rIns="91413" bIns="45708" numCol="1" anchor="t" anchorCtr="0" compatLnSpc="1">
            <a:prstTxWarp prst="textNoShape">
              <a:avLst/>
            </a:prstTxWarp>
          </a:bodyPr>
          <a:lstStyle/>
          <a:p>
            <a:endParaRPr lang="nb-NO">
              <a:solidFill>
                <a:prstClr val="black"/>
              </a:solidFill>
            </a:endParaRPr>
          </a:p>
        </p:txBody>
      </p:sp>
      <p:pic>
        <p:nvPicPr>
          <p:cNvPr id="10" name="Picture 5" descr="http://www.smp.no/incoming/article6538311.ece/alternates/w980-default/RasMidsund%20net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2653" y="4485950"/>
            <a:ext cx="2750837" cy="168014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tel 4"/>
          <p:cNvSpPr>
            <a:spLocks noGrp="1"/>
          </p:cNvSpPr>
          <p:nvPr>
            <p:ph type="title"/>
          </p:nvPr>
        </p:nvSpPr>
        <p:spPr>
          <a:xfrm>
            <a:off x="292781" y="238401"/>
            <a:ext cx="8513291" cy="553998"/>
          </a:xfrm>
        </p:spPr>
        <p:txBody>
          <a:bodyPr/>
          <a:lstStyle/>
          <a:p>
            <a:pPr algn="ctr"/>
            <a:r>
              <a:rPr lang="en-GB" sz="3600" dirty="0"/>
              <a:t>Important user categories -  2:</a:t>
            </a:r>
            <a:endParaRPr lang="en-GB" sz="1600" b="0" dirty="0"/>
          </a:p>
        </p:txBody>
      </p:sp>
      <p:sp>
        <p:nvSpPr>
          <p:cNvPr id="18" name="TekstSylinder 17"/>
          <p:cNvSpPr txBox="1"/>
          <p:nvPr/>
        </p:nvSpPr>
        <p:spPr>
          <a:xfrm>
            <a:off x="6589021" y="6166097"/>
            <a:ext cx="1872208" cy="369400"/>
          </a:xfrm>
          <a:prstGeom prst="rect">
            <a:avLst/>
          </a:prstGeom>
          <a:solidFill>
            <a:srgbClr val="E9E9E9"/>
          </a:solidFill>
        </p:spPr>
        <p:txBody>
          <a:bodyPr wrap="square" lIns="91413" tIns="45708" rIns="91413" bIns="45708" rtlCol="0">
            <a:spAutoFit/>
          </a:bodyPr>
          <a:lstStyle/>
          <a:p>
            <a:endParaRPr lang="nb-NO" dirty="0"/>
          </a:p>
        </p:txBody>
      </p:sp>
      <p:pic>
        <p:nvPicPr>
          <p:cNvPr id="20" name="Picture 2" descr="http://ndla.no/sites/default/files/images/Elg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921" y="792399"/>
            <a:ext cx="2806303" cy="198932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opp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051" y="3501802"/>
            <a:ext cx="3584604" cy="244827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http://awsassets.wwf.no/img/original/kelp_forest_norway_erling_svensen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086" y="2781722"/>
            <a:ext cx="2860397" cy="164392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2404781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Knowledge gap 1</a:t>
            </a:r>
            <a:endParaRPr lang="nb-NO" dirty="0"/>
          </a:p>
        </p:txBody>
      </p:sp>
      <p:pic>
        <p:nvPicPr>
          <p:cNvPr id="1638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530" y="1610901"/>
            <a:ext cx="7287010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660" y="1773610"/>
            <a:ext cx="2291477" cy="1045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kstSylinder 10"/>
          <p:cNvSpPr txBox="1"/>
          <p:nvPr/>
        </p:nvSpPr>
        <p:spPr>
          <a:xfrm>
            <a:off x="911272" y="3141763"/>
            <a:ext cx="3470567" cy="1323439"/>
          </a:xfrm>
          <a:prstGeom prst="rect">
            <a:avLst/>
          </a:prstGeom>
          <a:noFill/>
        </p:spPr>
        <p:txBody>
          <a:bodyPr wrap="square" lIns="91413" tIns="45708" rIns="91413" bIns="45708" rtlCol="0">
            <a:spAutoFit/>
          </a:bodyPr>
          <a:lstStyle/>
          <a:p>
            <a:r>
              <a:rPr lang="nb-NO" sz="4000" dirty="0" err="1">
                <a:solidFill>
                  <a:srgbClr val="FF0000"/>
                </a:solidFill>
              </a:rPr>
              <a:t>Climatologists</a:t>
            </a:r>
            <a:r>
              <a:rPr lang="nb-NO" sz="4000" dirty="0">
                <a:solidFill>
                  <a:srgbClr val="FF0000"/>
                </a:solidFill>
              </a:rPr>
              <a:t>’ </a:t>
            </a:r>
            <a:r>
              <a:rPr lang="nb-NO" sz="4000" dirty="0" err="1">
                <a:solidFill>
                  <a:srgbClr val="FF0000"/>
                </a:solidFill>
              </a:rPr>
              <a:t>knowledge</a:t>
            </a:r>
            <a:endParaRPr lang="nb-NO" sz="4000" dirty="0">
              <a:solidFill>
                <a:srgbClr val="FF0000"/>
              </a:solidFill>
            </a:endParaRPr>
          </a:p>
        </p:txBody>
      </p:sp>
      <p:sp>
        <p:nvSpPr>
          <p:cNvPr id="12" name="TekstSylinder 11"/>
          <p:cNvSpPr txBox="1"/>
          <p:nvPr/>
        </p:nvSpPr>
        <p:spPr>
          <a:xfrm>
            <a:off x="5661235" y="2565698"/>
            <a:ext cx="2825605" cy="2554545"/>
          </a:xfrm>
          <a:prstGeom prst="rect">
            <a:avLst/>
          </a:prstGeom>
          <a:noFill/>
        </p:spPr>
        <p:txBody>
          <a:bodyPr wrap="square" lIns="91413" tIns="45708" rIns="91413" bIns="45708" rtlCol="0">
            <a:spAutoFit/>
          </a:bodyPr>
          <a:lstStyle/>
          <a:p>
            <a:r>
              <a:rPr lang="nb-NO" sz="4000" dirty="0" err="1">
                <a:solidFill>
                  <a:srgbClr val="FF0000"/>
                </a:solidFill>
              </a:rPr>
              <a:t>Decision</a:t>
            </a:r>
            <a:r>
              <a:rPr lang="nb-NO" sz="4000" dirty="0">
                <a:solidFill>
                  <a:srgbClr val="FF0000"/>
                </a:solidFill>
              </a:rPr>
              <a:t> makers’</a:t>
            </a:r>
          </a:p>
          <a:p>
            <a:r>
              <a:rPr lang="nb-NO" sz="4000" dirty="0" err="1">
                <a:solidFill>
                  <a:srgbClr val="FF0000"/>
                </a:solidFill>
              </a:rPr>
              <a:t>information</a:t>
            </a:r>
            <a:r>
              <a:rPr lang="nb-NO" sz="4000" dirty="0">
                <a:solidFill>
                  <a:srgbClr val="FF0000"/>
                </a:solidFill>
              </a:rPr>
              <a:t> </a:t>
            </a:r>
            <a:r>
              <a:rPr lang="nb-NO" sz="4000" dirty="0" err="1">
                <a:solidFill>
                  <a:srgbClr val="FF0000"/>
                </a:solidFill>
              </a:rPr>
              <a:t>needs</a:t>
            </a:r>
            <a:endParaRPr lang="nb-NO" sz="4000" dirty="0">
              <a:solidFill>
                <a:srgbClr val="FF0000"/>
              </a:solidFill>
            </a:endParaRPr>
          </a:p>
        </p:txBody>
      </p:sp>
      <p:sp>
        <p:nvSpPr>
          <p:cNvPr id="9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2644820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7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innhold 5"/>
          <p:cNvSpPr>
            <a:spLocks noGrp="1"/>
          </p:cNvSpPr>
          <p:nvPr>
            <p:ph idx="1"/>
          </p:nvPr>
        </p:nvSpPr>
        <p:spPr>
          <a:xfrm>
            <a:off x="467672" y="1413570"/>
            <a:ext cx="4752528" cy="2736304"/>
          </a:xfrm>
        </p:spPr>
        <p:txBody>
          <a:bodyPr>
            <a:noAutofit/>
          </a:bodyPr>
          <a:lstStyle/>
          <a:p>
            <a:pPr>
              <a:tabLst>
                <a:tab pos="723681" algn="l"/>
              </a:tabLst>
              <a:defRPr/>
            </a:pPr>
            <a:r>
              <a:rPr lang="en-GB" sz="2800" dirty="0"/>
              <a:t>Variables/ indices ?</a:t>
            </a:r>
          </a:p>
          <a:p>
            <a:pPr>
              <a:tabLst>
                <a:tab pos="723681" algn="l"/>
              </a:tabLst>
              <a:defRPr/>
            </a:pPr>
            <a:r>
              <a:rPr lang="en-GB" sz="2800" dirty="0"/>
              <a:t>Time horizon ?</a:t>
            </a:r>
          </a:p>
          <a:p>
            <a:pPr>
              <a:tabLst>
                <a:tab pos="723681" algn="l"/>
              </a:tabLst>
              <a:defRPr/>
            </a:pPr>
            <a:r>
              <a:rPr lang="en-GB" sz="2800" dirty="0"/>
              <a:t>Scales (time and space) ? </a:t>
            </a:r>
          </a:p>
          <a:p>
            <a:pPr>
              <a:tabLst>
                <a:tab pos="723681" algn="l"/>
              </a:tabLst>
              <a:defRPr/>
            </a:pPr>
            <a:r>
              <a:rPr lang="en-GB" sz="2800" dirty="0"/>
              <a:t>Uncertainty</a:t>
            </a:r>
          </a:p>
          <a:p>
            <a:pPr marL="0" indent="0">
              <a:buNone/>
              <a:tabLst>
                <a:tab pos="723681" algn="l"/>
              </a:tabLst>
              <a:defRPr/>
            </a:pPr>
            <a:endParaRPr lang="en-GB" sz="2800" dirty="0"/>
          </a:p>
          <a:p>
            <a:pPr marL="457051" lvl="1" indent="0">
              <a:buNone/>
              <a:tabLst>
                <a:tab pos="723681" algn="l"/>
              </a:tabLst>
              <a:defRPr/>
            </a:pPr>
            <a:endParaRPr lang="en-GB" sz="2800" dirty="0"/>
          </a:p>
        </p:txBody>
      </p:sp>
      <p:sp>
        <p:nvSpPr>
          <p:cNvPr id="7" name="Plassholder for lysbildenummer 4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</p:spPr>
        <p:txBody>
          <a:bodyPr/>
          <a:lstStyle/>
          <a:p>
            <a:fld id="{D5ED987E-C9A5-4BD9-B8B4-14FB34A4F616}" type="slidenum">
              <a:rPr lang="nb-NO" smtClean="0">
                <a:solidFill>
                  <a:prstClr val="black"/>
                </a:solidFill>
              </a:rPr>
              <a:pPr/>
              <a:t>9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9" name="Tittel 4"/>
          <p:cNvSpPr>
            <a:spLocks noGrp="1"/>
          </p:cNvSpPr>
          <p:nvPr>
            <p:ph type="title"/>
          </p:nvPr>
        </p:nvSpPr>
        <p:spPr>
          <a:xfrm>
            <a:off x="307975" y="223489"/>
            <a:ext cx="8513291" cy="553998"/>
          </a:xfrm>
        </p:spPr>
        <p:txBody>
          <a:bodyPr/>
          <a:lstStyle/>
          <a:p>
            <a:pPr algn="ctr"/>
            <a:r>
              <a:rPr lang="en-GB" sz="3600" dirty="0"/>
              <a:t>What do the users need ???</a:t>
            </a:r>
            <a:endParaRPr lang="en-GB" sz="1600" b="0" dirty="0"/>
          </a:p>
        </p:txBody>
      </p:sp>
      <p:sp>
        <p:nvSpPr>
          <p:cNvPr id="4" name="AutoShape 2" descr="https://imap.met.no/service/home/~/image001.png?auth=co&amp;loc=no&amp;id=40938&amp;part=2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3" tIns="45708" rIns="91413" bIns="45708" numCol="1" anchor="t" anchorCtr="0" compatLnSpc="1">
            <a:prstTxWarp prst="textNoShape">
              <a:avLst/>
            </a:prstTxWarp>
          </a:bodyPr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10" name="TekstSylinder 9"/>
          <p:cNvSpPr txBox="1"/>
          <p:nvPr/>
        </p:nvSpPr>
        <p:spPr>
          <a:xfrm>
            <a:off x="6589021" y="6166097"/>
            <a:ext cx="1872208" cy="369400"/>
          </a:xfrm>
          <a:prstGeom prst="rect">
            <a:avLst/>
          </a:prstGeom>
          <a:solidFill>
            <a:srgbClr val="E9E9E9"/>
          </a:solidFill>
        </p:spPr>
        <p:txBody>
          <a:bodyPr wrap="square" lIns="91413" tIns="45708" rIns="91413" bIns="45708" rtlCol="0">
            <a:spAutoFit/>
          </a:bodyPr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8" name="Ellipse 7"/>
          <p:cNvSpPr/>
          <p:nvPr/>
        </p:nvSpPr>
        <p:spPr>
          <a:xfrm>
            <a:off x="307978" y="4581925"/>
            <a:ext cx="3816424" cy="1539075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8" rIns="91413" bIns="45708" rtlCol="0" anchor="ctr"/>
          <a:lstStyle/>
          <a:p>
            <a:pPr algn="ctr"/>
            <a:r>
              <a:rPr lang="en-GB" dirty="0" smtClean="0"/>
              <a:t>“one number”?</a:t>
            </a:r>
          </a:p>
          <a:p>
            <a:pPr algn="ctr"/>
            <a:r>
              <a:rPr lang="en-GB" dirty="0" smtClean="0"/>
              <a:t>“probability distribution”?</a:t>
            </a:r>
          </a:p>
          <a:p>
            <a:pPr algn="ctr"/>
            <a:r>
              <a:rPr lang="en-GB" dirty="0" smtClean="0"/>
              <a:t>“high/low”?</a:t>
            </a:r>
            <a:endParaRPr lang="en-GB" dirty="0"/>
          </a:p>
        </p:txBody>
      </p:sp>
      <p:sp>
        <p:nvSpPr>
          <p:cNvPr id="11" name="Ellipse 10"/>
          <p:cNvSpPr/>
          <p:nvPr/>
        </p:nvSpPr>
        <p:spPr>
          <a:xfrm>
            <a:off x="5678979" y="3141765"/>
            <a:ext cx="3105713" cy="1330735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8" rIns="91413" bIns="45708" rtlCol="0" anchor="ctr"/>
          <a:lstStyle/>
          <a:p>
            <a:pPr algn="ctr"/>
            <a:r>
              <a:rPr lang="en-GB" dirty="0" smtClean="0"/>
              <a:t>20 </a:t>
            </a:r>
            <a:r>
              <a:rPr lang="en-GB" dirty="0" err="1" smtClean="0"/>
              <a:t>yrs</a:t>
            </a:r>
            <a:r>
              <a:rPr lang="en-GB" dirty="0" smtClean="0"/>
              <a:t>? </a:t>
            </a:r>
          </a:p>
          <a:p>
            <a:pPr algn="ctr"/>
            <a:r>
              <a:rPr lang="en-GB" dirty="0" smtClean="0"/>
              <a:t>50 </a:t>
            </a:r>
            <a:r>
              <a:rPr lang="en-GB" dirty="0" err="1" smtClean="0"/>
              <a:t>yrs</a:t>
            </a:r>
            <a:r>
              <a:rPr lang="en-GB" dirty="0" smtClean="0"/>
              <a:t>? 100 </a:t>
            </a:r>
            <a:r>
              <a:rPr lang="en-GB" dirty="0" err="1" smtClean="0"/>
              <a:t>yrs</a:t>
            </a:r>
            <a:r>
              <a:rPr lang="en-GB" dirty="0" smtClean="0"/>
              <a:t>?</a:t>
            </a:r>
          </a:p>
          <a:p>
            <a:pPr algn="ctr"/>
            <a:r>
              <a:rPr lang="en-GB" dirty="0" smtClean="0"/>
              <a:t>Regional values?</a:t>
            </a:r>
          </a:p>
          <a:p>
            <a:pPr algn="ctr"/>
            <a:r>
              <a:rPr lang="en-GB" dirty="0" smtClean="0"/>
              <a:t>Local values? </a:t>
            </a:r>
            <a:endParaRPr lang="en-GB" dirty="0"/>
          </a:p>
        </p:txBody>
      </p:sp>
      <p:sp>
        <p:nvSpPr>
          <p:cNvPr id="14" name="Ellipse 13"/>
          <p:cNvSpPr/>
          <p:nvPr/>
        </p:nvSpPr>
        <p:spPr>
          <a:xfrm>
            <a:off x="4124402" y="4363774"/>
            <a:ext cx="2736304" cy="1330735"/>
          </a:xfrm>
          <a:prstGeom prst="ellipse">
            <a:avLst/>
          </a:prstGeom>
          <a:solidFill>
            <a:srgbClr val="00B0F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8" rIns="91413" bIns="45708" rtlCol="0" anchor="ctr"/>
          <a:lstStyle/>
          <a:p>
            <a:pPr algn="ctr"/>
            <a:r>
              <a:rPr lang="en-GB" dirty="0" smtClean="0"/>
              <a:t>Monthly?</a:t>
            </a:r>
          </a:p>
          <a:p>
            <a:pPr algn="ctr"/>
            <a:r>
              <a:rPr lang="en-GB" dirty="0" smtClean="0"/>
              <a:t>Daily? Hourly?</a:t>
            </a:r>
          </a:p>
          <a:p>
            <a:pPr algn="ctr"/>
            <a:r>
              <a:rPr lang="en-GB" dirty="0"/>
              <a:t>Return periods? Climatology</a:t>
            </a:r>
            <a:r>
              <a:rPr lang="en-GB" dirty="0" smtClean="0"/>
              <a:t>?</a:t>
            </a:r>
            <a:endParaRPr lang="en-GB" dirty="0"/>
          </a:p>
        </p:txBody>
      </p:sp>
      <p:sp>
        <p:nvSpPr>
          <p:cNvPr id="15" name="Ellipse 14"/>
          <p:cNvSpPr/>
          <p:nvPr/>
        </p:nvSpPr>
        <p:spPr>
          <a:xfrm>
            <a:off x="5172552" y="1269554"/>
            <a:ext cx="3672408" cy="17281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8" rIns="91413" bIns="45708" rtlCol="0" anchor="ctr"/>
          <a:lstStyle/>
          <a:p>
            <a:pPr algn="ctr"/>
            <a:r>
              <a:rPr lang="nb-NO" dirty="0" err="1" smtClean="0"/>
              <a:t>Temperature</a:t>
            </a:r>
            <a:r>
              <a:rPr lang="nb-NO" dirty="0" smtClean="0"/>
              <a:t>?</a:t>
            </a:r>
          </a:p>
          <a:p>
            <a:pPr algn="ctr"/>
            <a:r>
              <a:rPr lang="nb-NO" dirty="0" err="1" smtClean="0"/>
              <a:t>Snow</a:t>
            </a:r>
            <a:r>
              <a:rPr lang="nb-NO" dirty="0" smtClean="0"/>
              <a:t>? </a:t>
            </a:r>
            <a:r>
              <a:rPr lang="nb-NO" dirty="0" err="1" smtClean="0"/>
              <a:t>Rain</a:t>
            </a:r>
            <a:r>
              <a:rPr lang="nb-NO" dirty="0" smtClean="0"/>
              <a:t>? Wind?</a:t>
            </a:r>
          </a:p>
          <a:p>
            <a:pPr algn="ctr"/>
            <a:r>
              <a:rPr lang="nb-NO" dirty="0" err="1" smtClean="0"/>
              <a:t>Freezing</a:t>
            </a:r>
            <a:r>
              <a:rPr lang="nb-NO" dirty="0" smtClean="0"/>
              <a:t> </a:t>
            </a:r>
            <a:r>
              <a:rPr lang="nb-NO" dirty="0" err="1" smtClean="0"/>
              <a:t>degree</a:t>
            </a:r>
            <a:r>
              <a:rPr lang="nb-NO" dirty="0" smtClean="0"/>
              <a:t> </a:t>
            </a:r>
            <a:r>
              <a:rPr lang="nb-NO" dirty="0" err="1" smtClean="0"/>
              <a:t>days</a:t>
            </a:r>
            <a:r>
              <a:rPr lang="nb-NO" dirty="0" smtClean="0"/>
              <a:t>?</a:t>
            </a:r>
          </a:p>
          <a:p>
            <a:pPr algn="ctr"/>
            <a:r>
              <a:rPr lang="nb-NO" dirty="0" err="1"/>
              <a:t>Growing</a:t>
            </a:r>
            <a:r>
              <a:rPr lang="nb-NO" dirty="0"/>
              <a:t> </a:t>
            </a:r>
            <a:r>
              <a:rPr lang="nb-NO" dirty="0" err="1"/>
              <a:t>season</a:t>
            </a:r>
            <a:r>
              <a:rPr lang="nb-NO" dirty="0"/>
              <a:t>?</a:t>
            </a:r>
          </a:p>
          <a:p>
            <a:pPr algn="ctr"/>
            <a:r>
              <a:rPr lang="nb-NO" dirty="0" err="1" smtClean="0"/>
              <a:t>Droughts</a:t>
            </a:r>
            <a:r>
              <a:rPr lang="nb-NO" dirty="0" smtClean="0"/>
              <a:t>?</a:t>
            </a:r>
          </a:p>
        </p:txBody>
      </p:sp>
      <p:sp>
        <p:nvSpPr>
          <p:cNvPr id="12" name="Tittel 3"/>
          <p:cNvSpPr txBox="1">
            <a:spLocks/>
          </p:cNvSpPr>
          <p:nvPr/>
        </p:nvSpPr>
        <p:spPr>
          <a:xfrm>
            <a:off x="395618" y="6310781"/>
            <a:ext cx="8426399" cy="360123"/>
          </a:xfrm>
          <a:prstGeom prst="rect">
            <a:avLst/>
          </a:prstGeom>
          <a:gradFill flip="none" rotWithShape="1">
            <a:gsLst>
              <a:gs pos="0">
                <a:srgbClr val="54AB54">
                  <a:shade val="30000"/>
                  <a:satMod val="115000"/>
                </a:srgbClr>
              </a:gs>
              <a:gs pos="50000">
                <a:srgbClr val="54AB54">
                  <a:shade val="67500"/>
                  <a:satMod val="115000"/>
                </a:srgbClr>
              </a:gs>
              <a:gs pos="100000">
                <a:srgbClr val="54AB5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softEdge rad="12700"/>
          </a:effectLst>
        </p:spPr>
        <p:txBody>
          <a:bodyPr vert="horz" lIns="91332" tIns="45673" rIns="91332" bIns="45673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  <a:p>
            <a:pPr algn="l"/>
            <a:r>
              <a:rPr lang="nb-NO" sz="1400" dirty="0">
                <a:solidFill>
                  <a:prstClr val="white"/>
                </a:solidFill>
                <a:cs typeface="Arial" panose="020B0604020202020204" pitchFamily="34" charset="0"/>
              </a:rPr>
              <a:t>Norsk klimaservicesenter </a:t>
            </a:r>
          </a:p>
        </p:txBody>
      </p:sp>
    </p:spTree>
    <p:extLst>
      <p:ext uri="{BB962C8B-B14F-4D97-AF65-F5344CB8AC3E}">
        <p14:creationId xmlns:p14="http://schemas.microsoft.com/office/powerpoint/2010/main" val="1909459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  <p:bldP spid="8" grpId="0" animBg="1"/>
      <p:bldP spid="11" grpId="0" animBg="1"/>
      <p:bldP spid="14" grpId="0" animBg="1"/>
      <p:bldP spid="1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T_PPT_Engelsk">
  <a:themeElements>
    <a:clrScheme name="MET">
      <a:dk1>
        <a:sysClr val="windowText" lastClr="000000"/>
      </a:dk1>
      <a:lt1>
        <a:sysClr val="window" lastClr="FFFFFF"/>
      </a:lt1>
      <a:dk2>
        <a:srgbClr val="0090A8"/>
      </a:dk2>
      <a:lt2>
        <a:srgbClr val="74C4D7"/>
      </a:lt2>
      <a:accent1>
        <a:srgbClr val="54AB54"/>
      </a:accent1>
      <a:accent2>
        <a:srgbClr val="7974AF"/>
      </a:accent2>
      <a:accent3>
        <a:srgbClr val="A24E75"/>
      </a:accent3>
      <a:accent4>
        <a:srgbClr val="FFD255"/>
      </a:accent4>
      <a:accent5>
        <a:srgbClr val="7B5947"/>
      </a:accent5>
      <a:accent6>
        <a:srgbClr val="3F5B6D"/>
      </a:accent6>
      <a:hlink>
        <a:srgbClr val="FFD255"/>
      </a:hlink>
      <a:folHlink>
        <a:srgbClr val="7B594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MET_PPT_Engelsk">
  <a:themeElements>
    <a:clrScheme name="MET">
      <a:dk1>
        <a:sysClr val="windowText" lastClr="000000"/>
      </a:dk1>
      <a:lt1>
        <a:sysClr val="window" lastClr="FFFFFF"/>
      </a:lt1>
      <a:dk2>
        <a:srgbClr val="0090A8"/>
      </a:dk2>
      <a:lt2>
        <a:srgbClr val="74C4D7"/>
      </a:lt2>
      <a:accent1>
        <a:srgbClr val="54AB54"/>
      </a:accent1>
      <a:accent2>
        <a:srgbClr val="7974AF"/>
      </a:accent2>
      <a:accent3>
        <a:srgbClr val="A24E75"/>
      </a:accent3>
      <a:accent4>
        <a:srgbClr val="FFD255"/>
      </a:accent4>
      <a:accent5>
        <a:srgbClr val="7B5947"/>
      </a:accent5>
      <a:accent6>
        <a:srgbClr val="3F5B6D"/>
      </a:accent6>
      <a:hlink>
        <a:srgbClr val="FFD255"/>
      </a:hlink>
      <a:folHlink>
        <a:srgbClr val="7B594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MET_PPT_Engelsk">
  <a:themeElements>
    <a:clrScheme name="MET">
      <a:dk1>
        <a:sysClr val="windowText" lastClr="000000"/>
      </a:dk1>
      <a:lt1>
        <a:sysClr val="window" lastClr="FFFFFF"/>
      </a:lt1>
      <a:dk2>
        <a:srgbClr val="0090A8"/>
      </a:dk2>
      <a:lt2>
        <a:srgbClr val="74C4D7"/>
      </a:lt2>
      <a:accent1>
        <a:srgbClr val="54AB54"/>
      </a:accent1>
      <a:accent2>
        <a:srgbClr val="7974AF"/>
      </a:accent2>
      <a:accent3>
        <a:srgbClr val="A24E75"/>
      </a:accent3>
      <a:accent4>
        <a:srgbClr val="FFD255"/>
      </a:accent4>
      <a:accent5>
        <a:srgbClr val="7B5947"/>
      </a:accent5>
      <a:accent6>
        <a:srgbClr val="3F5B6D"/>
      </a:accent6>
      <a:hlink>
        <a:srgbClr val="FFD255"/>
      </a:hlink>
      <a:folHlink>
        <a:srgbClr val="7B594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ET_PPT_norsk">
  <a:themeElements>
    <a:clrScheme name="MET">
      <a:dk1>
        <a:sysClr val="windowText" lastClr="000000"/>
      </a:dk1>
      <a:lt1>
        <a:sysClr val="window" lastClr="FFFFFF"/>
      </a:lt1>
      <a:dk2>
        <a:srgbClr val="0090A8"/>
      </a:dk2>
      <a:lt2>
        <a:srgbClr val="74C4D7"/>
      </a:lt2>
      <a:accent1>
        <a:srgbClr val="54AB54"/>
      </a:accent1>
      <a:accent2>
        <a:srgbClr val="7974AF"/>
      </a:accent2>
      <a:accent3>
        <a:srgbClr val="A24E75"/>
      </a:accent3>
      <a:accent4>
        <a:srgbClr val="FFD255"/>
      </a:accent4>
      <a:accent5>
        <a:srgbClr val="7B5947"/>
      </a:accent5>
      <a:accent6>
        <a:srgbClr val="3F5B6D"/>
      </a:accent6>
      <a:hlink>
        <a:srgbClr val="FFD255"/>
      </a:hlink>
      <a:folHlink>
        <a:srgbClr val="7B594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MET_PPT_Engelsk">
  <a:themeElements>
    <a:clrScheme name="MET">
      <a:dk1>
        <a:sysClr val="windowText" lastClr="000000"/>
      </a:dk1>
      <a:lt1>
        <a:sysClr val="window" lastClr="FFFFFF"/>
      </a:lt1>
      <a:dk2>
        <a:srgbClr val="0090A8"/>
      </a:dk2>
      <a:lt2>
        <a:srgbClr val="74C4D7"/>
      </a:lt2>
      <a:accent1>
        <a:srgbClr val="54AB54"/>
      </a:accent1>
      <a:accent2>
        <a:srgbClr val="7974AF"/>
      </a:accent2>
      <a:accent3>
        <a:srgbClr val="A24E75"/>
      </a:accent3>
      <a:accent4>
        <a:srgbClr val="FFD255"/>
      </a:accent4>
      <a:accent5>
        <a:srgbClr val="7B5947"/>
      </a:accent5>
      <a:accent6>
        <a:srgbClr val="3F5B6D"/>
      </a:accent6>
      <a:hlink>
        <a:srgbClr val="FFD255"/>
      </a:hlink>
      <a:folHlink>
        <a:srgbClr val="7B594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T_PPT_Engelsk</Template>
  <TotalTime>3724</TotalTime>
  <Words>958</Words>
  <Application>Microsoft Office PowerPoint</Application>
  <PresentationFormat>Egendefinert</PresentationFormat>
  <Paragraphs>393</Paragraphs>
  <Slides>32</Slides>
  <Notes>12</Notes>
  <HiddenSlides>0</HiddenSlides>
  <MMClips>0</MMClips>
  <ScaleCrop>false</ScaleCrop>
  <HeadingPairs>
    <vt:vector size="6" baseType="variant">
      <vt:variant>
        <vt:lpstr>Tema</vt:lpstr>
      </vt:variant>
      <vt:variant>
        <vt:i4>5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2</vt:i4>
      </vt:variant>
    </vt:vector>
  </HeadingPairs>
  <TitlesOfParts>
    <vt:vector size="38" baseType="lpstr">
      <vt:lpstr>MET_PPT_Engelsk</vt:lpstr>
      <vt:lpstr>1_MET_PPT_Engelsk</vt:lpstr>
      <vt:lpstr>2_MET_PPT_Engelsk</vt:lpstr>
      <vt:lpstr>MET_PPT_norsk</vt:lpstr>
      <vt:lpstr>3_MET_PPT_Engelsk</vt:lpstr>
      <vt:lpstr>think-cell Slide</vt:lpstr>
      <vt:lpstr>Preparing for a future climate: Tailored climate products disseminated through The Norwegian Centre for Climate Services </vt:lpstr>
      <vt:lpstr>Norwegian Centre for Climate Services</vt:lpstr>
      <vt:lpstr>PowerPoint-presentasjon</vt:lpstr>
      <vt:lpstr>PowerPoint-presentasjon</vt:lpstr>
      <vt:lpstr>PowerPoint-presentasjon</vt:lpstr>
      <vt:lpstr>Important user categories -  1:</vt:lpstr>
      <vt:lpstr>Important user categories -  2:</vt:lpstr>
      <vt:lpstr>Knowledge gap 1</vt:lpstr>
      <vt:lpstr>What do the users need ???</vt:lpstr>
      <vt:lpstr>Different users/different needs:</vt:lpstr>
      <vt:lpstr>Some results are more uncertain than others</vt:lpstr>
      <vt:lpstr>Communication with key users is crucial!</vt:lpstr>
      <vt:lpstr>Communication with users</vt:lpstr>
      <vt:lpstr>Web-site:www.klimaservicesenter.no</vt:lpstr>
      <vt:lpstr>PowerPoint-presentasjon</vt:lpstr>
      <vt:lpstr>Largest temperature increase in the north</vt:lpstr>
      <vt:lpstr>Increase in number of days with heavy rainfall (q99,5)</vt:lpstr>
      <vt:lpstr>More water in rivers during winter season – reduced streamflow during summer</vt:lpstr>
      <vt:lpstr>Sea level rise up to 2100 (RCP8.5)</vt:lpstr>
      <vt:lpstr>Tailored «Climate profiles» for each county</vt:lpstr>
      <vt:lpstr>KRIGiS: Vulnerability / Impact Studies with a focus on: </vt:lpstr>
      <vt:lpstr>PowerPoint-presentasjon</vt:lpstr>
      <vt:lpstr>PowerPoint-presentasjon</vt:lpstr>
      <vt:lpstr>Snow season will be shorter Changes (number of days) from 1971-2000 to 2071-2100</vt:lpstr>
      <vt:lpstr>PowerPoint-presentasjon</vt:lpstr>
      <vt:lpstr>PowerPoint-presentasjon</vt:lpstr>
      <vt:lpstr>PowerPoint-presentasjon</vt:lpstr>
      <vt:lpstr>1-hour rainfall Oslo-Blindern 1968-2014</vt:lpstr>
      <vt:lpstr>PowerPoint-presentasjon</vt:lpstr>
      <vt:lpstr>PowerPoint-presentasjon</vt:lpstr>
      <vt:lpstr>PowerPoint-presentasjon</vt:lpstr>
      <vt:lpstr>PowerPoint-presentasj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Inger Hanssen-Bauer</dc:creator>
  <cp:lastModifiedBy>Eirik J. Førland</cp:lastModifiedBy>
  <cp:revision>227</cp:revision>
  <cp:lastPrinted>2013-09-09T06:52:46Z</cp:lastPrinted>
  <dcterms:created xsi:type="dcterms:W3CDTF">2013-08-27T11:01:42Z</dcterms:created>
  <dcterms:modified xsi:type="dcterms:W3CDTF">2015-12-07T21:36:53Z</dcterms:modified>
</cp:coreProperties>
</file>